
<file path=[Content_Types].xml><?xml version="1.0" encoding="utf-8"?>
<Types xmlns="http://schemas.openxmlformats.org/package/2006/content-types">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omments/modernComment_F84_3590BA18.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F8E_16D5B17A.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F89_B44D599F.xml" ContentType="application/vnd.ms-powerpoint.comments+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comments/modernComment_EC9_128F75C9.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omments/modernComment_F71_4B9EBF00.xml" ContentType="application/vnd.ms-powerpoint.comments+xml"/>
  <Override PartName="/ppt/comments/modernComment_F9C_8C1E0EF6.xml" ContentType="application/vnd.ms-powerpoint.comments+xml"/>
  <Override PartName="/ppt/comments/modernComment_F99_C1B3767D.xml" ContentType="application/vnd.ms-powerpoint.comment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omments/modernComment_F9A_C92B4A09.xml" ContentType="application/vnd.ms-powerpoint.comment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omments/modernComment_F98_18EA6E79.xml" ContentType="application/vnd.ms-powerpoint.comments+xml"/>
  <Override PartName="/ppt/comments/modernComment_F6E_F14357E4.xml" ContentType="application/vnd.ms-powerpoint.comment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omments/modernComment_FA0_1ABB6AA7.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DD9_43C6E3C5.xml" ContentType="application/vnd.ms-powerpoint.comments+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E50_9ED53407.xml" ContentType="application/vnd.ms-powerpoint.comments+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4"/>
  </p:sldMasterIdLst>
  <p:notesMasterIdLst>
    <p:notesMasterId r:id="rId59"/>
  </p:notesMasterIdLst>
  <p:handoutMasterIdLst>
    <p:handoutMasterId r:id="rId60"/>
  </p:handoutMasterIdLst>
  <p:sldIdLst>
    <p:sldId id="260" r:id="rId5"/>
    <p:sldId id="257" r:id="rId6"/>
    <p:sldId id="3970" r:id="rId7"/>
    <p:sldId id="3971" r:id="rId8"/>
    <p:sldId id="3972" r:id="rId9"/>
    <p:sldId id="3973" r:id="rId10"/>
    <p:sldId id="3980" r:id="rId11"/>
    <p:sldId id="3981" r:id="rId12"/>
    <p:sldId id="3982" r:id="rId13"/>
    <p:sldId id="3995" r:id="rId14"/>
    <p:sldId id="3997" r:id="rId15"/>
    <p:sldId id="3974" r:id="rId16"/>
    <p:sldId id="3975" r:id="rId17"/>
    <p:sldId id="3796" r:id="rId18"/>
    <p:sldId id="3977" r:id="rId19"/>
    <p:sldId id="3786" r:id="rId20"/>
    <p:sldId id="3998" r:id="rId21"/>
    <p:sldId id="3984" r:id="rId22"/>
    <p:sldId id="3985" r:id="rId23"/>
    <p:sldId id="3596" r:id="rId24"/>
    <p:sldId id="3785" r:id="rId25"/>
    <p:sldId id="3963" r:id="rId26"/>
    <p:sldId id="3807" r:id="rId27"/>
    <p:sldId id="3501" r:id="rId28"/>
    <p:sldId id="3934" r:id="rId29"/>
    <p:sldId id="3935" r:id="rId30"/>
    <p:sldId id="3938" r:id="rId31"/>
    <p:sldId id="3937" r:id="rId32"/>
    <p:sldId id="3940" r:id="rId33"/>
    <p:sldId id="3941" r:id="rId34"/>
    <p:sldId id="3969" r:id="rId35"/>
    <p:sldId id="3953" r:id="rId36"/>
    <p:sldId id="3996" r:id="rId37"/>
    <p:sldId id="3945" r:id="rId38"/>
    <p:sldId id="3993" r:id="rId39"/>
    <p:sldId id="3994" r:id="rId40"/>
    <p:sldId id="3992" r:id="rId41"/>
    <p:sldId id="3950" r:id="rId42"/>
    <p:sldId id="4000" r:id="rId43"/>
    <p:sldId id="3954" r:id="rId44"/>
    <p:sldId id="3488" r:id="rId45"/>
    <p:sldId id="1670" r:id="rId46"/>
    <p:sldId id="3824" r:id="rId47"/>
    <p:sldId id="3999" r:id="rId48"/>
    <p:sldId id="3606" r:id="rId49"/>
    <p:sldId id="3800" r:id="rId50"/>
    <p:sldId id="3799" r:id="rId51"/>
    <p:sldId id="3545" r:id="rId52"/>
    <p:sldId id="1702" r:id="rId53"/>
    <p:sldId id="3827" r:id="rId54"/>
    <p:sldId id="3986" r:id="rId55"/>
    <p:sldId id="3664" r:id="rId56"/>
    <p:sldId id="4001" r:id="rId57"/>
    <p:sldId id="3834"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193C08-F527-C762-2EB4-0ED026A29216}" name="Azam Khan" initials="AK" userId="S::azam@grc360.net::e9856873-5654-417f-a7e3-2b48ad478ead"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3D80A7A8-F97C-1D97-86F0-C4BB3219D9F5}" name="Ifrahim Rehman" initials="IR" userId="S::ifrahim@grc360.net::6115ef16-f9c1-4f4e-b357-bcb44c33ccd3" providerId="AD"/>
  <p188:author id="{DBFEBCB8-4EAC-4F7C-2847-4E87868E4DCE}" name="Iman Kashif" initials="IK" userId="S::iman.kashif@grc360.net::d7404cb9-92b2-4fe8-9d71-bc14b88ad833" providerId="AD"/>
  <p188:author id="{1920FCC7-726F-8994-C11D-1C67E164AA08}" name="Sadia Ijaz" initials="SI" userId="Sadia Ijaz" providerId="None"/>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B354"/>
    <a:srgbClr val="9E9A00"/>
    <a:srgbClr val="9B8357"/>
    <a:srgbClr val="EE7700"/>
    <a:srgbClr val="C2BC80"/>
    <a:srgbClr val="F2C75F"/>
    <a:srgbClr val="C2B14E"/>
    <a:srgbClr val="8A8700"/>
    <a:srgbClr val="CCB76A"/>
    <a:srgbClr val="9170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A09D84-E53B-F7F7-0348-FFB24D41D9DC}" v="19" dt="2025-02-13T05:28:35.889"/>
    <p1510:client id="{3E6EC7C0-B5B5-94B8-98C9-9C2C9D67C926}" v="32" dt="2025-02-12T12:40:13.847"/>
    <p1510:client id="{FB92D3D7-C021-071F-ECEA-6A05D56410A7}" v="13" dt="2025-02-13T08:15:10.7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874" y="1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67"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i Zain" userId="S::ali.zain@grc360.net::4d89c543-ac31-4e29-9819-1e707c0eb08b" providerId="AD" clId="Web-{3E6EC7C0-B5B5-94B8-98C9-9C2C9D67C926}"/>
    <pc:docChg chg="modSld">
      <pc:chgData name="Ali Zain" userId="S::ali.zain@grc360.net::4d89c543-ac31-4e29-9819-1e707c0eb08b" providerId="AD" clId="Web-{3E6EC7C0-B5B5-94B8-98C9-9C2C9D67C926}" dt="2025-02-12T12:40:13.847" v="29" actId="1076"/>
      <pc:docMkLst>
        <pc:docMk/>
      </pc:docMkLst>
      <pc:sldChg chg="addSp modSp">
        <pc:chgData name="Ali Zain" userId="S::ali.zain@grc360.net::4d89c543-ac31-4e29-9819-1e707c0eb08b" providerId="AD" clId="Web-{3E6EC7C0-B5B5-94B8-98C9-9C2C9D67C926}" dt="2025-02-12T12:40:13.847" v="29" actId="1076"/>
        <pc:sldMkLst>
          <pc:docMk/>
          <pc:sldMk cId="3863156978" sldId="3786"/>
        </pc:sldMkLst>
        <pc:spChg chg="mod">
          <ac:chgData name="Ali Zain" userId="S::ali.zain@grc360.net::4d89c543-ac31-4e29-9819-1e707c0eb08b" providerId="AD" clId="Web-{3E6EC7C0-B5B5-94B8-98C9-9C2C9D67C926}" dt="2025-02-12T12:33:06.264" v="27" actId="14100"/>
          <ac:spMkLst>
            <pc:docMk/>
            <pc:sldMk cId="3863156978" sldId="3786"/>
            <ac:spMk id="7" creationId="{E641DC4E-87D2-498C-FD9E-9EEBE9DFB5B3}"/>
          </ac:spMkLst>
        </pc:spChg>
        <pc:picChg chg="add mod">
          <ac:chgData name="Ali Zain" userId="S::ali.zain@grc360.net::4d89c543-ac31-4e29-9819-1e707c0eb08b" providerId="AD" clId="Web-{3E6EC7C0-B5B5-94B8-98C9-9C2C9D67C926}" dt="2025-02-12T12:40:13.847" v="29" actId="1076"/>
          <ac:picMkLst>
            <pc:docMk/>
            <pc:sldMk cId="3863156978" sldId="3786"/>
            <ac:picMk id="13" creationId="{047BACE5-2F98-432D-4EBE-74A9017C209B}"/>
          </ac:picMkLst>
        </pc:picChg>
        <pc:picChg chg="mod">
          <ac:chgData name="Ali Zain" userId="S::ali.zain@grc360.net::4d89c543-ac31-4e29-9819-1e707c0eb08b" providerId="AD" clId="Web-{3E6EC7C0-B5B5-94B8-98C9-9C2C9D67C926}" dt="2025-02-12T10:20:01.035" v="2" actId="14100"/>
          <ac:picMkLst>
            <pc:docMk/>
            <pc:sldMk cId="3863156978" sldId="3786"/>
            <ac:picMk id="2054" creationId="{A842AC6A-5B1B-F109-57C7-6D41A4DEBF4E}"/>
          </ac:picMkLst>
        </pc:picChg>
        <pc:picChg chg="mod">
          <ac:chgData name="Ali Zain" userId="S::ali.zain@grc360.net::4d89c543-ac31-4e29-9819-1e707c0eb08b" providerId="AD" clId="Web-{3E6EC7C0-B5B5-94B8-98C9-9C2C9D67C926}" dt="2025-02-12T10:19:49.425" v="0" actId="14100"/>
          <ac:picMkLst>
            <pc:docMk/>
            <pc:sldMk cId="3863156978" sldId="3786"/>
            <ac:picMk id="2058" creationId="{A0869C78-9A32-4255-7E4B-C5AA2B3DF7BC}"/>
          </ac:picMkLst>
        </pc:picChg>
        <pc:picChg chg="mod">
          <ac:chgData name="Ali Zain" userId="S::ali.zain@grc360.net::4d89c543-ac31-4e29-9819-1e707c0eb08b" providerId="AD" clId="Web-{3E6EC7C0-B5B5-94B8-98C9-9C2C9D67C926}" dt="2025-02-12T10:20:13.832" v="4" actId="14100"/>
          <ac:picMkLst>
            <pc:docMk/>
            <pc:sldMk cId="3863156978" sldId="3786"/>
            <ac:picMk id="2062" creationId="{D404A6A6-0270-502A-3B24-717685386778}"/>
          </ac:picMkLst>
        </pc:picChg>
        <pc:picChg chg="mod">
          <ac:chgData name="Ali Zain" userId="S::ali.zain@grc360.net::4d89c543-ac31-4e29-9819-1e707c0eb08b" providerId="AD" clId="Web-{3E6EC7C0-B5B5-94B8-98C9-9C2C9D67C926}" dt="2025-02-12T10:20:07.301" v="3" actId="14100"/>
          <ac:picMkLst>
            <pc:docMk/>
            <pc:sldMk cId="3863156978" sldId="3786"/>
            <ac:picMk id="2066" creationId="{C16E2555-90F6-DBC7-05B0-3D6B74D78680}"/>
          </ac:picMkLst>
        </pc:picChg>
        <pc:picChg chg="mod">
          <ac:chgData name="Ali Zain" userId="S::ali.zain@grc360.net::4d89c543-ac31-4e29-9819-1e707c0eb08b" providerId="AD" clId="Web-{3E6EC7C0-B5B5-94B8-98C9-9C2C9D67C926}" dt="2025-02-12T12:32:56.358" v="25" actId="14100"/>
          <ac:picMkLst>
            <pc:docMk/>
            <pc:sldMk cId="3863156978" sldId="3786"/>
            <ac:picMk id="3083" creationId="{1973B103-EF9A-DAE9-8A4C-7DD33BEA8E0B}"/>
          </ac:picMkLst>
        </pc:picChg>
        <pc:picChg chg="mod">
          <ac:chgData name="Ali Zain" userId="S::ali.zain@grc360.net::4d89c543-ac31-4e29-9819-1e707c0eb08b" providerId="AD" clId="Web-{3E6EC7C0-B5B5-94B8-98C9-9C2C9D67C926}" dt="2025-02-12T10:19:57.738" v="1" actId="14100"/>
          <ac:picMkLst>
            <pc:docMk/>
            <pc:sldMk cId="3863156978" sldId="3786"/>
            <ac:picMk id="3084" creationId="{EFFBFECC-150F-8F15-6571-80815B53B9E9}"/>
          </ac:picMkLst>
        </pc:picChg>
      </pc:sldChg>
      <pc:sldChg chg="addSp delSp modSp">
        <pc:chgData name="Ali Zain" userId="S::ali.zain@grc360.net::4d89c543-ac31-4e29-9819-1e707c0eb08b" providerId="AD" clId="Web-{3E6EC7C0-B5B5-94B8-98C9-9C2C9D67C926}" dt="2025-02-12T12:03:59.092" v="22" actId="1076"/>
        <pc:sldMkLst>
          <pc:docMk/>
          <pc:sldMk cId="2043257948" sldId="3796"/>
        </pc:sldMkLst>
        <pc:picChg chg="add del mod">
          <ac:chgData name="Ali Zain" userId="S::ali.zain@grc360.net::4d89c543-ac31-4e29-9819-1e707c0eb08b" providerId="AD" clId="Web-{3E6EC7C0-B5B5-94B8-98C9-9C2C9D67C926}" dt="2025-02-12T12:03:56.233" v="21"/>
          <ac:picMkLst>
            <pc:docMk/>
            <pc:sldMk cId="2043257948" sldId="3796"/>
            <ac:picMk id="4" creationId="{7DE994C5-04CF-2A08-6D88-DB44D5FB00B8}"/>
          </ac:picMkLst>
        </pc:picChg>
        <pc:picChg chg="mod">
          <ac:chgData name="Ali Zain" userId="S::ali.zain@grc360.net::4d89c543-ac31-4e29-9819-1e707c0eb08b" providerId="AD" clId="Web-{3E6EC7C0-B5B5-94B8-98C9-9C2C9D67C926}" dt="2025-02-12T11:14:42.551" v="13" actId="1076"/>
          <ac:picMkLst>
            <pc:docMk/>
            <pc:sldMk cId="2043257948" sldId="3796"/>
            <ac:picMk id="107" creationId="{3D4385F2-9782-6D7C-6D22-D6285DF81F5E}"/>
          </ac:picMkLst>
        </pc:picChg>
        <pc:picChg chg="mod">
          <ac:chgData name="Ali Zain" userId="S::ali.zain@grc360.net::4d89c543-ac31-4e29-9819-1e707c0eb08b" providerId="AD" clId="Web-{3E6EC7C0-B5B5-94B8-98C9-9C2C9D67C926}" dt="2025-02-12T12:03:59.092" v="22" actId="1076"/>
          <ac:picMkLst>
            <pc:docMk/>
            <pc:sldMk cId="2043257948" sldId="3796"/>
            <ac:picMk id="1028" creationId="{C60CFFA0-F446-AA09-6D29-30B77F65AECE}"/>
          </ac:picMkLst>
        </pc:picChg>
      </pc:sldChg>
      <pc:sldChg chg="modSp">
        <pc:chgData name="Ali Zain" userId="S::ali.zain@grc360.net::4d89c543-ac31-4e29-9819-1e707c0eb08b" providerId="AD" clId="Web-{3E6EC7C0-B5B5-94B8-98C9-9C2C9D67C926}" dt="2025-02-12T11:56:22.841" v="20" actId="1076"/>
        <pc:sldMkLst>
          <pc:docMk/>
          <pc:sldMk cId="4195322181" sldId="3998"/>
        </pc:sldMkLst>
        <pc:picChg chg="mod">
          <ac:chgData name="Ali Zain" userId="S::ali.zain@grc360.net::4d89c543-ac31-4e29-9819-1e707c0eb08b" providerId="AD" clId="Web-{3E6EC7C0-B5B5-94B8-98C9-9C2C9D67C926}" dt="2025-02-12T11:56:07.356" v="18" actId="1076"/>
          <ac:picMkLst>
            <pc:docMk/>
            <pc:sldMk cId="4195322181" sldId="3998"/>
            <ac:picMk id="2052" creationId="{36ABF911-0848-C74C-8F33-EAAD289D71F4}"/>
          </ac:picMkLst>
        </pc:picChg>
        <pc:picChg chg="mod">
          <ac:chgData name="Ali Zain" userId="S::ali.zain@grc360.net::4d89c543-ac31-4e29-9819-1e707c0eb08b" providerId="AD" clId="Web-{3E6EC7C0-B5B5-94B8-98C9-9C2C9D67C926}" dt="2025-02-12T11:56:22.841" v="20" actId="1076"/>
          <ac:picMkLst>
            <pc:docMk/>
            <pc:sldMk cId="4195322181" sldId="3998"/>
            <ac:picMk id="2056" creationId="{C4BCFA5E-54D2-EACC-C071-270DC56C364A}"/>
          </ac:picMkLst>
        </pc:picChg>
        <pc:picChg chg="mod">
          <ac:chgData name="Ali Zain" userId="S::ali.zain@grc360.net::4d89c543-ac31-4e29-9819-1e707c0eb08b" providerId="AD" clId="Web-{3E6EC7C0-B5B5-94B8-98C9-9C2C9D67C926}" dt="2025-02-12T11:56:20.279" v="19" actId="1076"/>
          <ac:picMkLst>
            <pc:docMk/>
            <pc:sldMk cId="4195322181" sldId="3998"/>
            <ac:picMk id="4098" creationId="{AAA90AD3-A0E5-4142-A976-A54D0118466B}"/>
          </ac:picMkLst>
        </pc:picChg>
      </pc:sldChg>
    </pc:docChg>
  </pc:docChgLst>
  <pc:docChgLst>
    <pc:chgData name="Ali Zain" userId="S::ali.zain@grc360.net::4d89c543-ac31-4e29-9819-1e707c0eb08b" providerId="AD" clId="Web-{FB92D3D7-C021-071F-ECEA-6A05D56410A7}"/>
    <pc:docChg chg="addSld delSld sldOrd">
      <pc:chgData name="Ali Zain" userId="S::ali.zain@grc360.net::4d89c543-ac31-4e29-9819-1e707c0eb08b" providerId="AD" clId="Web-{FB92D3D7-C021-071F-ECEA-6A05D56410A7}" dt="2025-02-13T08:15:04.264" v="4"/>
      <pc:docMkLst>
        <pc:docMk/>
      </pc:docMkLst>
      <pc:sldChg chg="ord">
        <pc:chgData name="Ali Zain" userId="S::ali.zain@grc360.net::4d89c543-ac31-4e29-9819-1e707c0eb08b" providerId="AD" clId="Web-{FB92D3D7-C021-071F-ECEA-6A05D56410A7}" dt="2025-02-13T08:06:17.499" v="2"/>
        <pc:sldMkLst>
          <pc:docMk/>
          <pc:sldMk cId="2618360584" sldId="3974"/>
        </pc:sldMkLst>
      </pc:sldChg>
      <pc:sldChg chg="add del ord">
        <pc:chgData name="Ali Zain" userId="S::ali.zain@grc360.net::4d89c543-ac31-4e29-9819-1e707c0eb08b" providerId="AD" clId="Web-{FB92D3D7-C021-071F-ECEA-6A05D56410A7}" dt="2025-02-13T08:15:04.264" v="4"/>
        <pc:sldMkLst>
          <pc:docMk/>
          <pc:sldMk cId="3462626018" sldId="3997"/>
        </pc:sldMkLst>
      </pc:sldChg>
    </pc:docChg>
  </pc:docChgLst>
  <pc:docChgLst>
    <pc:chgData name="Ali Zain" userId="S::ali.zain@grc360.net::4d89c543-ac31-4e29-9819-1e707c0eb08b" providerId="AD" clId="Web-{3DA09D84-E53B-F7F7-0348-FFB24D41D9DC}"/>
    <pc:docChg chg="modSld">
      <pc:chgData name="Ali Zain" userId="S::ali.zain@grc360.net::4d89c543-ac31-4e29-9819-1e707c0eb08b" providerId="AD" clId="Web-{3DA09D84-E53B-F7F7-0348-FFB24D41D9DC}" dt="2025-02-13T05:28:35.889" v="17" actId="1076"/>
      <pc:docMkLst>
        <pc:docMk/>
      </pc:docMkLst>
      <pc:sldChg chg="addSp modSp">
        <pc:chgData name="Ali Zain" userId="S::ali.zain@grc360.net::4d89c543-ac31-4e29-9819-1e707c0eb08b" providerId="AD" clId="Web-{3DA09D84-E53B-F7F7-0348-FFB24D41D9DC}" dt="2025-02-13T05:13:32.475" v="12" actId="1076"/>
        <pc:sldMkLst>
          <pc:docMk/>
          <pc:sldMk cId="3863156978" sldId="3786"/>
        </pc:sldMkLst>
        <pc:grpChg chg="mod">
          <ac:chgData name="Ali Zain" userId="S::ali.zain@grc360.net::4d89c543-ac31-4e29-9819-1e707c0eb08b" providerId="AD" clId="Web-{3DA09D84-E53B-F7F7-0348-FFB24D41D9DC}" dt="2025-02-13T05:13:32.475" v="12" actId="1076"/>
          <ac:grpSpMkLst>
            <pc:docMk/>
            <pc:sldMk cId="3863156978" sldId="3786"/>
            <ac:grpSpMk id="5" creationId="{6DC16425-C375-F3BE-D70C-043E539215D0}"/>
          </ac:grpSpMkLst>
        </pc:grpChg>
        <pc:grpChg chg="mod">
          <ac:chgData name="Ali Zain" userId="S::ali.zain@grc360.net::4d89c543-ac31-4e29-9819-1e707c0eb08b" providerId="AD" clId="Web-{3DA09D84-E53B-F7F7-0348-FFB24D41D9DC}" dt="2025-02-13T05:13:11.443" v="7" actId="1076"/>
          <ac:grpSpMkLst>
            <pc:docMk/>
            <pc:sldMk cId="3863156978" sldId="3786"/>
            <ac:grpSpMk id="16" creationId="{1B4D86F0-F8F8-2C45-F61D-8B011235183E}"/>
          </ac:grpSpMkLst>
        </pc:grpChg>
        <pc:picChg chg="mod">
          <ac:chgData name="Ali Zain" userId="S::ali.zain@grc360.net::4d89c543-ac31-4e29-9819-1e707c0eb08b" providerId="AD" clId="Web-{3DA09D84-E53B-F7F7-0348-FFB24D41D9DC}" dt="2025-02-13T05:13:20.068" v="9" actId="1076"/>
          <ac:picMkLst>
            <pc:docMk/>
            <pc:sldMk cId="3863156978" sldId="3786"/>
            <ac:picMk id="14" creationId="{9B224125-5D53-6084-E918-58297F99D2B7}"/>
          </ac:picMkLst>
        </pc:picChg>
        <pc:picChg chg="mod">
          <ac:chgData name="Ali Zain" userId="S::ali.zain@grc360.net::4d89c543-ac31-4e29-9819-1e707c0eb08b" providerId="AD" clId="Web-{3DA09D84-E53B-F7F7-0348-FFB24D41D9DC}" dt="2025-02-13T05:13:27.787" v="11" actId="1076"/>
          <ac:picMkLst>
            <pc:docMk/>
            <pc:sldMk cId="3863156978" sldId="3786"/>
            <ac:picMk id="15" creationId="{2B40682F-B07C-50D3-284E-1F93CA8D51C1}"/>
          </ac:picMkLst>
        </pc:picChg>
        <pc:picChg chg="add mod">
          <ac:chgData name="Ali Zain" userId="S::ali.zain@grc360.net::4d89c543-ac31-4e29-9819-1e707c0eb08b" providerId="AD" clId="Web-{3DA09D84-E53B-F7F7-0348-FFB24D41D9DC}" dt="2025-02-13T05:13:23.443" v="10" actId="1076"/>
          <ac:picMkLst>
            <pc:docMk/>
            <pc:sldMk cId="3863156978" sldId="3786"/>
            <ac:picMk id="20" creationId="{0198D7C8-AB20-2766-2AF5-854E59B1BE16}"/>
          </ac:picMkLst>
        </pc:picChg>
      </pc:sldChg>
      <pc:sldChg chg="modSp">
        <pc:chgData name="Ali Zain" userId="S::ali.zain@grc360.net::4d89c543-ac31-4e29-9819-1e707c0eb08b" providerId="AD" clId="Web-{3DA09D84-E53B-F7F7-0348-FFB24D41D9DC}" dt="2025-02-13T05:28:35.889" v="17" actId="1076"/>
        <pc:sldMkLst>
          <pc:docMk/>
          <pc:sldMk cId="4195322181" sldId="3998"/>
        </pc:sldMkLst>
        <pc:picChg chg="mod">
          <ac:chgData name="Ali Zain" userId="S::ali.zain@grc360.net::4d89c543-ac31-4e29-9819-1e707c0eb08b" providerId="AD" clId="Web-{3DA09D84-E53B-F7F7-0348-FFB24D41D9DC}" dt="2025-02-13T05:28:31.435" v="15" actId="1076"/>
          <ac:picMkLst>
            <pc:docMk/>
            <pc:sldMk cId="4195322181" sldId="3998"/>
            <ac:picMk id="4" creationId="{8153FFD7-EF71-6106-2FB9-F311828F54C3}"/>
          </ac:picMkLst>
        </pc:picChg>
        <pc:picChg chg="mod">
          <ac:chgData name="Ali Zain" userId="S::ali.zain@grc360.net::4d89c543-ac31-4e29-9819-1e707c0eb08b" providerId="AD" clId="Web-{3DA09D84-E53B-F7F7-0348-FFB24D41D9DC}" dt="2025-02-13T05:28:35.889" v="17" actId="1076"/>
          <ac:picMkLst>
            <pc:docMk/>
            <pc:sldMk cId="4195322181" sldId="3998"/>
            <ac:picMk id="6" creationId="{1B8F4DB3-DCF7-55AA-0A59-1867C1FB38EE}"/>
          </ac:picMkLst>
        </pc:picChg>
        <pc:picChg chg="mod">
          <ac:chgData name="Ali Zain" userId="S::ali.zain@grc360.net::4d89c543-ac31-4e29-9819-1e707c0eb08b" providerId="AD" clId="Web-{3DA09D84-E53B-F7F7-0348-FFB24D41D9DC}" dt="2025-02-13T05:28:32.935" v="16" actId="1076"/>
          <ac:picMkLst>
            <pc:docMk/>
            <pc:sldMk cId="4195322181" sldId="3998"/>
            <ac:picMk id="7" creationId="{289D5CA8-FB42-5EF6-0739-534867BDC31D}"/>
          </ac:picMkLst>
        </pc:picChg>
        <pc:picChg chg="mod">
          <ac:chgData name="Ali Zain" userId="S::ali.zain@grc360.net::4d89c543-ac31-4e29-9819-1e707c0eb08b" providerId="AD" clId="Web-{3DA09D84-E53B-F7F7-0348-FFB24D41D9DC}" dt="2025-02-13T05:28:28.060" v="14" actId="1076"/>
          <ac:picMkLst>
            <pc:docMk/>
            <pc:sldMk cId="4195322181" sldId="3998"/>
            <ac:picMk id="2050" creationId="{A71AC966-4899-E75C-F54A-1E4482AA5965}"/>
          </ac:picMkLst>
        </pc:picChg>
        <pc:picChg chg="mod">
          <ac:chgData name="Ali Zain" userId="S::ali.zain@grc360.net::4d89c543-ac31-4e29-9819-1e707c0eb08b" providerId="AD" clId="Web-{3DA09D84-E53B-F7F7-0348-FFB24D41D9DC}" dt="2025-02-13T05:28:24.716" v="13" actId="1076"/>
          <ac:picMkLst>
            <pc:docMk/>
            <pc:sldMk cId="4195322181" sldId="3998"/>
            <ac:picMk id="2056" creationId="{C4BCFA5E-54D2-EACC-C071-270DC56C364A}"/>
          </ac:picMkLst>
        </pc:picChg>
      </pc:sldChg>
    </pc:docChg>
  </pc:docChgLst>
</pc:chgInfo>
</file>

<file path=ppt/comments/modernComment_DD9_43C6E3C5.xml><?xml version="1.0" encoding="utf-8"?>
<p188:cmLst xmlns:a="http://schemas.openxmlformats.org/drawingml/2006/main" xmlns:r="http://schemas.openxmlformats.org/officeDocument/2006/relationships" xmlns:p188="http://schemas.microsoft.com/office/powerpoint/2018/8/main">
  <p188:cm id="{6216B8D1-F348-401B-8ED9-13E957EAD260}" authorId="{97FA30FC-2856-DF41-D11B-914DB54D6D94}" created="2024-11-21T10:17:31.684">
    <ac:txMkLst xmlns:ac="http://schemas.microsoft.com/office/drawing/2013/main/command">
      <pc:docMk xmlns:pc="http://schemas.microsoft.com/office/powerpoint/2013/main/command"/>
      <pc:sldMk xmlns:pc="http://schemas.microsoft.com/office/powerpoint/2013/main/command" cId="1137107909" sldId="3545"/>
      <ac:spMk id="5" creationId="{3E1DA7FF-E33F-8FA6-B10E-A514F3CE5355}"/>
      <ac:txMk cp="533">
        <ac:context len="559" hash="4004518279"/>
      </ac:txMk>
    </ac:txMkLst>
    <p188:pos x="782349" y="3636576"/>
    <p188:txBody>
      <a:bodyPr/>
      <a:lstStyle/>
      <a:p>
        <a:r>
          <a:rPr lang="en-US"/>
          <a:t>Update Client’s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F48D1542-A601-4A35-A504-2A25B3800EF5}" authorId="{DBFEBCB8-4EAC-4F7C-2847-4E87868E4DCE}" status="resolved" created="2025-01-01T06:48:12.567">
    <pc:sldMkLst xmlns:pc="http://schemas.microsoft.com/office/powerpoint/2013/main/command">
      <pc:docMk/>
      <pc:sldMk cId="2664772615" sldId="3664"/>
    </pc:sldMkLst>
    <p188:txBody>
      <a:bodyPr/>
      <a:lstStyle/>
      <a:p>
        <a:r>
          <a:rPr lang="en-US"/>
          <a:t>confirm if this section is to be included?</a:t>
        </a:r>
      </a:p>
    </p188:txBody>
  </p188:cm>
  <p188:cm id="{A4D7DA94-EC00-4656-81BE-4BA6108389AC}" authorId="{B9FC8C96-177D-8CEB-3D02-AA737FB9C437}" status="resolved" created="2025-01-22T13:00:17.303">
    <pc:sldMkLst xmlns:pc="http://schemas.microsoft.com/office/powerpoint/2013/main/command">
      <pc:docMk/>
      <pc:sldMk cId="2664772615" sldId="3664"/>
    </pc:sldMkLst>
    <p188:txBody>
      <a:bodyPr/>
      <a:lstStyle/>
      <a:p>
        <a:r>
          <a:rPr lang="en-US"/>
          <a:t>Before the contact us</a:t>
        </a:r>
      </a:p>
    </p188:txBody>
  </p188:cm>
</p188:cmLst>
</file>

<file path=ppt/comments/modernComment_EC9_128F75C9.xml><?xml version="1.0" encoding="utf-8"?>
<p188:cmLst xmlns:a="http://schemas.openxmlformats.org/drawingml/2006/main" xmlns:r="http://schemas.openxmlformats.org/officeDocument/2006/relationships" xmlns:p188="http://schemas.microsoft.com/office/powerpoint/2018/8/main">
  <p188:cm id="{477D747D-CA9B-477C-A73B-629024F84E4D}" authorId="{97FA30FC-2856-DF41-D11B-914DB54D6D94}" created="2024-11-20T06:14:44.998">
    <ac:txMkLst xmlns:ac="http://schemas.microsoft.com/office/drawing/2013/main/command">
      <pc:docMk xmlns:pc="http://schemas.microsoft.com/office/powerpoint/2013/main/command"/>
      <pc:sldMk xmlns:pc="http://schemas.microsoft.com/office/powerpoint/2013/main/command" cId="311391689" sldId="3785"/>
      <ac:spMk id="3" creationId="{CDE7D77E-6DAA-CF33-0531-C60DED053A2A}"/>
      <ac:txMk cp="598">
        <ac:context len="687" hash="2369167675"/>
      </ac:txMk>
    </ac:txMkLst>
    <p188:pos x="1963449" y="3317378"/>
    <p188:txBody>
      <a:bodyPr/>
      <a:lstStyle/>
      <a:p>
        <a:r>
          <a:rPr lang="en-US"/>
          <a:t>Change Client’s Name</a:t>
        </a:r>
      </a:p>
    </p188:txBody>
  </p188:cm>
</p188:cmLst>
</file>

<file path=ppt/comments/modernComment_F6E_F14357E4.xml><?xml version="1.0" encoding="utf-8"?>
<p188:cmLst xmlns:a="http://schemas.openxmlformats.org/drawingml/2006/main" xmlns:r="http://schemas.openxmlformats.org/officeDocument/2006/relationships" xmlns:p188="http://schemas.microsoft.com/office/powerpoint/2018/8/main">
  <p188:cm id="{B7DE005A-2845-4561-AB22-DC1AE0D5105F}" authorId="{97FA30FC-2856-DF41-D11B-914DB54D6D94}" created="2024-11-20T12:36:54.312">
    <ac:deMkLst xmlns:ac="http://schemas.microsoft.com/office/drawing/2013/main/command">
      <pc:docMk xmlns:pc="http://schemas.microsoft.com/office/powerpoint/2013/main/command"/>
      <pc:sldMk xmlns:pc="http://schemas.microsoft.com/office/powerpoint/2013/main/command" cId="4047722468" sldId="3950"/>
      <ac:spMk id="6" creationId="{00000000-0000-0000-0000-000000000000}"/>
    </ac:deMkLst>
    <p188:txBody>
      <a:bodyPr/>
      <a:lstStyle/>
      <a:p>
        <a:r>
          <a:rPr lang="en-US"/>
          <a:t>Update Client’s name</a:t>
        </a:r>
      </a:p>
    </p188:txBody>
  </p188:cm>
</p188:cmLst>
</file>

<file path=ppt/comments/modernComment_F71_4B9EBF00.xml><?xml version="1.0" encoding="utf-8"?>
<p188:cmLst xmlns:a="http://schemas.openxmlformats.org/drawingml/2006/main" xmlns:r="http://schemas.openxmlformats.org/officeDocument/2006/relationships" xmlns:p188="http://schemas.microsoft.com/office/powerpoint/2018/8/main">
  <p188:cm id="{8A209CB7-1D08-4EF3-9C95-C0160D108AE4}" authorId="{97FA30FC-2856-DF41-D11B-914DB54D6D94}" created="2024-11-20T12:35:16.594">
    <ac:txMkLst xmlns:ac="http://schemas.microsoft.com/office/drawing/2013/main/command">
      <pc:docMk xmlns:pc="http://schemas.microsoft.com/office/powerpoint/2013/main/command"/>
      <pc:sldMk xmlns:pc="http://schemas.microsoft.com/office/powerpoint/2013/main/command" cId="1268694784" sldId="3953"/>
      <ac:spMk id="6" creationId="{00000000-0000-0000-0000-000000000000}"/>
      <ac:txMk cp="131">
        <ac:context len="180" hash="181044458"/>
      </ac:txMk>
    </ac:txMkLst>
    <p188:pos x="2806888" y="1164209"/>
    <p188:txBody>
      <a:bodyPr/>
      <a:lstStyle/>
      <a:p>
        <a:r>
          <a:rPr lang="en-US"/>
          <a:t>Change Client’s Name</a:t>
        </a:r>
      </a:p>
    </p188:txBody>
  </p188:cm>
  <p188:cm id="{8F5E05B5-33F4-45BC-975C-CB97609FF002}" authorId="{0C8E098D-729B-ABD8-9101-63DBE6010261}" status="resolved" created="2024-11-21T12:16:09.064" complete="100000">
    <ac:deMkLst xmlns:ac="http://schemas.microsoft.com/office/drawing/2013/main/command">
      <pc:docMk xmlns:pc="http://schemas.microsoft.com/office/powerpoint/2013/main/command"/>
      <pc:sldMk xmlns:pc="http://schemas.microsoft.com/office/powerpoint/2013/main/command" cId="1268694784" sldId="3953"/>
      <ac:grpSpMk id="53" creationId="{84F2C5F1-238B-27D9-CED1-054669B1E5EC}"/>
    </ac:deMkLst>
    <p188:txBody>
      <a:bodyPr/>
      <a:lstStyle/>
      <a:p>
        <a:r>
          <a:rPr lang="en-US"/>
          <a:t>Identification of Personal Data &amp; Data Flows(Data Inventory)can be mentioned as starting point</a:t>
        </a:r>
      </a:p>
    </p188:txBody>
  </p188:cm>
</p188:cmLst>
</file>

<file path=ppt/comments/modernComment_F84_3590BA18.xml><?xml version="1.0" encoding="utf-8"?>
<p188:cmLst xmlns:a="http://schemas.openxmlformats.org/drawingml/2006/main" xmlns:r="http://schemas.openxmlformats.org/officeDocument/2006/relationships" xmlns:p188="http://schemas.microsoft.com/office/powerpoint/2018/8/main">
  <p188:cm id="{DCE92F9C-E84B-4997-92C9-A9462CA2E414}" authorId="{0C8E098D-729B-ABD8-9101-63DBE6010261}" status="resolved" created="2024-11-21T12:01:37.241" complete="100000">
    <ac:txMkLst xmlns:ac="http://schemas.microsoft.com/office/drawing/2013/main/command">
      <pc:docMk xmlns:pc="http://schemas.microsoft.com/office/powerpoint/2013/main/command"/>
      <pc:sldMk xmlns:pc="http://schemas.microsoft.com/office/powerpoint/2013/main/command" cId="898677272" sldId="3972"/>
      <ac:spMk id="3" creationId="{F5AA72C9-278C-6C0D-A594-96AAC1B641E3}"/>
      <ac:txMk cp="16">
        <ac:context len="17" hash="4092962588"/>
      </ac:txMk>
    </ac:txMkLst>
    <p188:pos x="3131999" y="741679"/>
    <p188:txBody>
      <a:bodyPr/>
      <a:lstStyle/>
      <a:p>
        <a:r>
          <a:rPr lang="en-US"/>
          <a:t>I think title should be changed here. Like Core Values etc</a:t>
        </a:r>
      </a:p>
    </p188:txBody>
  </p188:cm>
</p188:cmLst>
</file>

<file path=ppt/comments/modernComment_F89_B44D599F.xml><?xml version="1.0" encoding="utf-8"?>
<p188:cmLst xmlns:a="http://schemas.openxmlformats.org/drawingml/2006/main" xmlns:r="http://schemas.openxmlformats.org/officeDocument/2006/relationships" xmlns:p188="http://schemas.microsoft.com/office/powerpoint/2018/8/main">
  <p188:cm id="{D5DE7B27-E549-4300-8EDC-E60264743185}" authorId="{C367D2CC-6C97-68EE-222B-D2ED96236971}" status="resolved" created="2025-01-26T07:56:44.866" complete="100000">
    <ac:deMkLst xmlns:ac="http://schemas.microsoft.com/office/drawing/2013/main/command">
      <pc:docMk xmlns:pc="http://schemas.microsoft.com/office/powerpoint/2013/main/command"/>
      <pc:sldMk xmlns:pc="http://schemas.microsoft.com/office/powerpoint/2013/main/command" cId="3024968095" sldId="3977"/>
      <ac:spMk id="133" creationId="{766C6454-A9E1-8C20-5F67-F61D5F965F36}"/>
    </ac:deMkLst>
    <p188:txBody>
      <a:bodyPr/>
      <a:lstStyle/>
      <a:p>
        <a:r>
          <a:rPr lang="en-GB"/>
          <a:t>[@Iman Kashif] please look into making sure all images of logos are hd.</a:t>
        </a:r>
      </a:p>
    </p188:txBody>
  </p188:cm>
</p188:cmLst>
</file>

<file path=ppt/comments/modernComment_F8E_16D5B17A.xml><?xml version="1.0" encoding="utf-8"?>
<p188:cmLst xmlns:a="http://schemas.openxmlformats.org/drawingml/2006/main" xmlns:r="http://schemas.openxmlformats.org/officeDocument/2006/relationships" xmlns:p188="http://schemas.microsoft.com/office/powerpoint/2018/8/main">
  <p188:cm id="{CC03BC9C-7D25-4E5C-A4F8-EAD5C09A721C}" authorId="{0C8E098D-729B-ABD8-9101-63DBE6010261}" status="resolved" created="2024-11-21T12:08:21.829" complete="100000">
    <ac:txMkLst xmlns:ac="http://schemas.microsoft.com/office/drawing/2013/main/command">
      <pc:docMk xmlns:pc="http://schemas.microsoft.com/office/powerpoint/2013/main/command"/>
      <pc:sldMk xmlns:pc="http://schemas.microsoft.com/office/powerpoint/2013/main/command" cId="383103354" sldId="3982"/>
      <ac:spMk id="23" creationId="{6C64F761-F2C8-F5DF-1255-C13051DE9ED6}"/>
      <ac:txMk cp="80">
        <ac:context len="83" hash="3906805797"/>
      </ac:txMk>
    </ac:txMkLst>
    <p188:pos x="1824312" y="752321"/>
    <p188:txBody>
      <a:bodyPr/>
      <a:lstStyle/>
      <a:p>
        <a:r>
          <a:rPr lang="en-US"/>
          <a:t>CSF</a:t>
        </a:r>
      </a:p>
    </p188:txBody>
  </p188:cm>
</p188:cmLst>
</file>

<file path=ppt/comments/modernComment_F98_18EA6E79.xml><?xml version="1.0" encoding="utf-8"?>
<p188:cmLst xmlns:a="http://schemas.openxmlformats.org/drawingml/2006/main" xmlns:r="http://schemas.openxmlformats.org/officeDocument/2006/relationships" xmlns:p188="http://schemas.microsoft.com/office/powerpoint/2018/8/main">
  <p188:cm id="{AB1FF4C5-EC92-4682-9E9D-985B0FA713C2}" authorId="{97FA30FC-2856-DF41-D11B-914DB54D6D94}" created="2024-11-20T12:36:28.984">
    <ac:deMkLst xmlns:ac="http://schemas.microsoft.com/office/drawing/2013/main/command">
      <pc:docMk xmlns:pc="http://schemas.microsoft.com/office/powerpoint/2013/main/command"/>
      <pc:sldMk xmlns:pc="http://schemas.microsoft.com/office/powerpoint/2013/main/command" cId="418016889" sldId="3992"/>
      <ac:spMk id="3" creationId="{5F1D939C-23EA-615B-91A0-13D782FDF452}"/>
    </ac:deMkLst>
    <p188:txBody>
      <a:bodyPr/>
      <a:lstStyle/>
      <a:p>
        <a:r>
          <a:rPr lang="en-US"/>
          <a:t>Add Client’s Name</a:t>
        </a:r>
      </a:p>
    </p188:txBody>
  </p188:cm>
</p188:cmLst>
</file>

<file path=ppt/comments/modernComment_F99_C1B3767D.xml><?xml version="1.0" encoding="utf-8"?>
<p188:cmLst xmlns:a="http://schemas.openxmlformats.org/drawingml/2006/main" xmlns:r="http://schemas.openxmlformats.org/officeDocument/2006/relationships" xmlns:p188="http://schemas.microsoft.com/office/powerpoint/2018/8/main">
  <p188:cm id="{1FAEB23E-B503-4699-AF1D-1E536BF7EC93}" authorId="{97FA30FC-2856-DF41-D11B-914DB54D6D94}" created="2024-11-20T12:35:29.928">
    <ac:txMkLst xmlns:ac="http://schemas.microsoft.com/office/drawing/2013/main/command">
      <pc:docMk xmlns:pc="http://schemas.microsoft.com/office/powerpoint/2013/main/command"/>
      <pc:sldMk xmlns:pc="http://schemas.microsoft.com/office/powerpoint/2013/main/command" cId="3249763965" sldId="3993"/>
      <ac:spMk id="3" creationId="{4E78F6B9-E0F6-F110-936C-6A1364BD0466}"/>
      <ac:txMk cp="44" len="11">
        <ac:context len="399" hash="3764178377"/>
      </ac:txMk>
    </ac:txMkLst>
    <p188:pos x="3613604" y="346679"/>
    <p188:txBody>
      <a:bodyPr/>
      <a:lstStyle/>
      <a:p>
        <a:r>
          <a:rPr lang="en-US"/>
          <a:t>Change Client’s Name</a:t>
        </a:r>
      </a:p>
    </p188:txBody>
  </p188:cm>
  <p188:cm id="{1303EF83-044F-481D-8C2E-893931756F1F}" authorId="{97FA30FC-2856-DF41-D11B-914DB54D6D94}" created="2024-11-20T12:35:36.756">
    <ac:txMkLst xmlns:ac="http://schemas.microsoft.com/office/drawing/2013/main/command">
      <pc:docMk xmlns:pc="http://schemas.microsoft.com/office/powerpoint/2013/main/command"/>
      <pc:sldMk xmlns:pc="http://schemas.microsoft.com/office/powerpoint/2013/main/command" cId="3249763965" sldId="3993"/>
      <ac:spMk id="3" creationId="{4E78F6B9-E0F6-F110-936C-6A1364BD0466}"/>
      <ac:txMk cp="340">
        <ac:context len="399" hash="3764178377"/>
      </ac:txMk>
    </ac:txMkLst>
    <p188:pos x="4299404" y="778479"/>
    <p188:txBody>
      <a:bodyPr/>
      <a:lstStyle/>
      <a:p>
        <a:r>
          <a:rPr lang="en-US"/>
          <a:t>Change Client’s Name</a:t>
        </a:r>
      </a:p>
    </p188:txBody>
  </p188:cm>
</p188:cmLst>
</file>

<file path=ppt/comments/modernComment_F9A_C92B4A09.xml><?xml version="1.0" encoding="utf-8"?>
<p188:cmLst xmlns:a="http://schemas.openxmlformats.org/drawingml/2006/main" xmlns:r="http://schemas.openxmlformats.org/officeDocument/2006/relationships" xmlns:p188="http://schemas.microsoft.com/office/powerpoint/2018/8/main">
  <p188:cm id="{DEF055D4-0D7A-43DC-B5A2-95D73EA94AF0}" authorId="{97FA30FC-2856-DF41-D11B-914DB54D6D94}" created="2024-11-20T12:35:45.552">
    <ac:txMkLst xmlns:ac="http://schemas.microsoft.com/office/drawing/2013/main/command">
      <pc:docMk xmlns:pc="http://schemas.microsoft.com/office/powerpoint/2013/main/command"/>
      <pc:sldMk xmlns:pc="http://schemas.microsoft.com/office/powerpoint/2013/main/command" cId="3375057417" sldId="3994"/>
      <ac:spMk id="3" creationId="{5A3CC875-DBD9-7F49-A717-A71B6B57CC38}"/>
      <ac:txMk cp="44" len="11">
        <ac:context len="399" hash="3764178377"/>
      </ac:txMk>
    </ac:txMkLst>
    <p188:pos x="3613604" y="346679"/>
    <p188:txBody>
      <a:bodyPr/>
      <a:lstStyle/>
      <a:p>
        <a:r>
          <a:rPr lang="en-US"/>
          <a:t>Change Client’s Name</a:t>
        </a:r>
      </a:p>
    </p188:txBody>
  </p188:cm>
  <p188:cm id="{B60EBA94-2AD0-4B6A-8141-0641764A7785}" authorId="{97FA30FC-2856-DF41-D11B-914DB54D6D94}" created="2024-11-20T12:35:52.293">
    <ac:txMkLst xmlns:ac="http://schemas.microsoft.com/office/drawing/2013/main/command">
      <pc:docMk xmlns:pc="http://schemas.microsoft.com/office/powerpoint/2013/main/command"/>
      <pc:sldMk xmlns:pc="http://schemas.microsoft.com/office/powerpoint/2013/main/command" cId="3375057417" sldId="3994"/>
      <ac:spMk id="3" creationId="{5A3CC875-DBD9-7F49-A717-A71B6B57CC38}"/>
      <ac:txMk cp="340">
        <ac:context len="399" hash="3764178377"/>
      </ac:txMk>
    </ac:txMkLst>
    <p188:pos x="4299404" y="778479"/>
    <p188:txBody>
      <a:bodyPr/>
      <a:lstStyle/>
      <a:p>
        <a:r>
          <a:rPr lang="en-US"/>
          <a:t>Change Client’s Name</a:t>
        </a:r>
      </a:p>
    </p188:txBody>
  </p188:cm>
</p188:cmLst>
</file>

<file path=ppt/comments/modernComment_F9C_8C1E0EF6.xml><?xml version="1.0" encoding="utf-8"?>
<p188:cmLst xmlns:a="http://schemas.openxmlformats.org/drawingml/2006/main" xmlns:r="http://schemas.openxmlformats.org/officeDocument/2006/relationships" xmlns:p188="http://schemas.microsoft.com/office/powerpoint/2018/8/main">
  <p188:cm id="{F0083449-C08F-4172-AD38-07288BDB951B}" authorId="{97FA30FC-2856-DF41-D11B-914DB54D6D94}" created="2024-11-24T12:52:18.811">
    <ac:txMkLst xmlns:ac="http://schemas.microsoft.com/office/drawing/2013/main/command">
      <pc:docMk xmlns:pc="http://schemas.microsoft.com/office/powerpoint/2013/main/command"/>
      <pc:sldMk xmlns:pc="http://schemas.microsoft.com/office/powerpoint/2013/main/command" cId="2350780150" sldId="3996"/>
      <ac:spMk id="3" creationId="{A14FEB63-ADD4-62E1-C335-145CD747CAF1}"/>
      <ac:txMk cp="66" len="6">
        <ac:context len="467" hash="2513691340"/>
      </ac:txMk>
    </ac:txMkLst>
    <p188:pos x="6545213" y="345543"/>
    <p188:txBody>
      <a:bodyPr/>
      <a:lstStyle/>
      <a:p>
        <a:r>
          <a:rPr lang="en-US"/>
          <a:t>Update Client name</a:t>
        </a:r>
      </a:p>
    </p188:txBody>
  </p188:cm>
  <p188:cm id="{4E5F1AF6-0C01-4B01-A3C4-ED4ADA072DE1}" authorId="{97FA30FC-2856-DF41-D11B-914DB54D6D94}" created="2024-11-24T12:52:52.589">
    <ac:txMkLst xmlns:ac="http://schemas.microsoft.com/office/drawing/2013/main/command">
      <pc:docMk xmlns:pc="http://schemas.microsoft.com/office/powerpoint/2013/main/command"/>
      <pc:sldMk xmlns:pc="http://schemas.microsoft.com/office/powerpoint/2013/main/command" cId="2350780150" sldId="3996"/>
      <ac:spMk id="3" creationId="{A14FEB63-ADD4-62E1-C335-145CD747CAF1}"/>
      <ac:txMk cp="203" len="6">
        <ac:context len="467" hash="2513691340"/>
      </ac:txMk>
    </ac:txMkLst>
    <p188:pos x="5097413" y="1082143"/>
    <p188:txBody>
      <a:bodyPr/>
      <a:lstStyle/>
      <a:p>
        <a:r>
          <a:rPr lang="en-US"/>
          <a:t>Update Client name</a:t>
        </a:r>
      </a:p>
    </p188:txBody>
  </p188:cm>
  <p188:cm id="{A334A746-F72D-4C07-B64F-4FD3FDDAEE66}" authorId="{97FA30FC-2856-DF41-D11B-914DB54D6D94}" created="2024-11-24T12:53:23.021">
    <ac:txMkLst xmlns:ac="http://schemas.microsoft.com/office/drawing/2013/main/command">
      <pc:docMk xmlns:pc="http://schemas.microsoft.com/office/powerpoint/2013/main/command"/>
      <pc:sldMk xmlns:pc="http://schemas.microsoft.com/office/powerpoint/2013/main/command" cId="2350780150" sldId="3996"/>
      <ac:spMk id="3" creationId="{A14FEB63-ADD4-62E1-C335-145CD747CAF1}"/>
      <ac:txMk cp="357" len="6">
        <ac:context len="467" hash="2513691340"/>
      </ac:txMk>
    </ac:txMkLst>
    <p188:pos x="6494413" y="1704443"/>
    <p188:txBody>
      <a:bodyPr/>
      <a:lstStyle/>
      <a:p>
        <a:r>
          <a:rPr lang="en-US"/>
          <a:t>Update Client name</a:t>
        </a:r>
      </a:p>
    </p188:txBody>
  </p188:cm>
</p188:cmLst>
</file>

<file path=ppt/comments/modernComment_FA0_1ABB6AA7.xml><?xml version="1.0" encoding="utf-8"?>
<p188:cmLst xmlns:a="http://schemas.openxmlformats.org/drawingml/2006/main" xmlns:r="http://schemas.openxmlformats.org/officeDocument/2006/relationships" xmlns:p188="http://schemas.microsoft.com/office/powerpoint/2018/8/main">
  <p188:cm id="{37BADC72-700E-475F-BC4B-90D11B9C0F95}" authorId="{97FA30FC-2856-DF41-D11B-914DB54D6D94}" created="2024-11-20T12:36:54.312">
    <ac:deMkLst xmlns:ac="http://schemas.microsoft.com/office/drawing/2013/main/command">
      <pc:docMk xmlns:pc="http://schemas.microsoft.com/office/powerpoint/2013/main/command"/>
      <pc:sldMk xmlns:pc="http://schemas.microsoft.com/office/powerpoint/2013/main/command" cId="448490151" sldId="4000"/>
      <ac:spMk id="6" creationId="{07AF394C-6468-4F54-58DC-4EFE29A8A6CE}"/>
    </ac:deMkLst>
    <p188:txBody>
      <a:bodyPr/>
      <a:lstStyle/>
      <a:p>
        <a:r>
          <a:rPr lang="en-US"/>
          <a:t>Update Client’s name</a:t>
        </a:r>
      </a:p>
    </p188:txBody>
  </p188:cm>
</p188: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A82F513-1CAF-4586-AF4C-B16D8557977D}"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E1D3D13B-5D9F-400E-9A40-025A09A6C3EE}">
      <dgm:prSet phldrT="[Text]" custT="1"/>
      <dgm:spPr/>
      <dgm:t>
        <a:bodyPr/>
        <a:lstStyle/>
        <a:p>
          <a:r>
            <a:rPr lang="en-US" sz="1600" b="1"/>
            <a:t>Data Subjects Rights and Handling of DSR Requests </a:t>
          </a:r>
        </a:p>
      </dgm:t>
    </dgm:pt>
    <dgm:pt modelId="{B0EE815D-AB3D-4D59-9398-35F50EB577F5}" type="parTrans" cxnId="{9046AFC2-C4F8-424B-A47F-EB623186F34D}">
      <dgm:prSet/>
      <dgm:spPr/>
      <dgm:t>
        <a:bodyPr/>
        <a:lstStyle/>
        <a:p>
          <a:endParaRPr lang="en-US"/>
        </a:p>
      </dgm:t>
    </dgm:pt>
    <dgm:pt modelId="{EB50611F-E67C-4015-ACC9-2331529F2674}" type="sibTrans" cxnId="{9046AFC2-C4F8-424B-A47F-EB623186F34D}">
      <dgm:prSet/>
      <dgm:spPr/>
      <dgm:t>
        <a:bodyPr/>
        <a:lstStyle/>
        <a:p>
          <a:endParaRPr lang="en-US"/>
        </a:p>
      </dgm:t>
    </dgm:pt>
    <dgm:pt modelId="{7C3A358B-078B-4195-9B26-1EFFC3616A6D}">
      <dgm:prSet phldrT="[Text]" custT="1"/>
      <dgm:spPr/>
      <dgm:t>
        <a:bodyPr/>
        <a:lstStyle/>
        <a:p>
          <a:r>
            <a:rPr lang="en-US" sz="1600"/>
            <a:t> Article 4, 21, 9</a:t>
          </a:r>
        </a:p>
      </dgm:t>
    </dgm:pt>
    <dgm:pt modelId="{4213FC18-2E20-4EBF-BEA4-7EC2D427DA99}" type="parTrans" cxnId="{D8BF9CDE-CD00-4CDD-92B8-7AFB4AD182F9}">
      <dgm:prSet/>
      <dgm:spPr/>
      <dgm:t>
        <a:bodyPr/>
        <a:lstStyle/>
        <a:p>
          <a:endParaRPr lang="en-US"/>
        </a:p>
      </dgm:t>
    </dgm:pt>
    <dgm:pt modelId="{591790F2-2A86-4419-84E7-B8785C1B906E}" type="sibTrans" cxnId="{D8BF9CDE-CD00-4CDD-92B8-7AFB4AD182F9}">
      <dgm:prSet/>
      <dgm:spPr/>
      <dgm:t>
        <a:bodyPr/>
        <a:lstStyle/>
        <a:p>
          <a:endParaRPr lang="en-US"/>
        </a:p>
      </dgm:t>
    </dgm:pt>
    <dgm:pt modelId="{CF6451A3-02FF-409F-ADDE-F9966EB6B83F}">
      <dgm:prSet phldrT="[Text]" custT="1"/>
      <dgm:spPr/>
      <dgm:t>
        <a:bodyPr/>
        <a:lstStyle/>
        <a:p>
          <a:r>
            <a:rPr lang="en-US" sz="1600" b="1"/>
            <a:t>Processing of Personal Data </a:t>
          </a:r>
        </a:p>
      </dgm:t>
    </dgm:pt>
    <dgm:pt modelId="{E1F1D128-FFD3-42AE-936D-B2E5FED1A10B}" type="parTrans" cxnId="{06B32920-BF06-4566-9D89-927D187BB9F4}">
      <dgm:prSet/>
      <dgm:spPr/>
      <dgm:t>
        <a:bodyPr/>
        <a:lstStyle/>
        <a:p>
          <a:endParaRPr lang="en-US"/>
        </a:p>
      </dgm:t>
    </dgm:pt>
    <dgm:pt modelId="{FB445B9D-F2F2-4F15-AA51-B9C92CF477C1}" type="sibTrans" cxnId="{06B32920-BF06-4566-9D89-927D187BB9F4}">
      <dgm:prSet/>
      <dgm:spPr/>
      <dgm:t>
        <a:bodyPr/>
        <a:lstStyle/>
        <a:p>
          <a:endParaRPr lang="en-US"/>
        </a:p>
      </dgm:t>
    </dgm:pt>
    <dgm:pt modelId="{1D1DF0C9-87D3-467C-9757-4C9DA4EA735C}">
      <dgm:prSet phldrT="[Text]" custT="1"/>
      <dgm:spPr/>
      <dgm:t>
        <a:bodyPr/>
        <a:lstStyle/>
        <a:p>
          <a:r>
            <a:rPr lang="en-US" sz="1600"/>
            <a:t>Article 23, 24</a:t>
          </a:r>
        </a:p>
      </dgm:t>
    </dgm:pt>
    <dgm:pt modelId="{B3FDC365-FEDF-4F77-9410-3D3214617DA2}" type="parTrans" cxnId="{6D22F18E-A427-4FA7-92C4-974DF1B094B0}">
      <dgm:prSet/>
      <dgm:spPr/>
      <dgm:t>
        <a:bodyPr/>
        <a:lstStyle/>
        <a:p>
          <a:endParaRPr lang="en-US"/>
        </a:p>
      </dgm:t>
    </dgm:pt>
    <dgm:pt modelId="{6D17B3CC-D8E0-4B30-B800-CBF0E52BAD70}" type="sibTrans" cxnId="{6D22F18E-A427-4FA7-92C4-974DF1B094B0}">
      <dgm:prSet/>
      <dgm:spPr/>
      <dgm:t>
        <a:bodyPr/>
        <a:lstStyle/>
        <a:p>
          <a:endParaRPr lang="en-US"/>
        </a:p>
      </dgm:t>
    </dgm:pt>
    <dgm:pt modelId="{F805301A-27C6-4C1A-95D9-AAE30EB1601B}">
      <dgm:prSet phldrT="[Text]" custT="1"/>
      <dgm:spPr/>
      <dgm:t>
        <a:bodyPr/>
        <a:lstStyle/>
        <a:p>
          <a:r>
            <a:rPr lang="en-US" sz="1600" b="1"/>
            <a:t>Privacy Policy and Notices </a:t>
          </a:r>
        </a:p>
      </dgm:t>
    </dgm:pt>
    <dgm:pt modelId="{694363DB-EE61-470F-AAA6-9091E57B336F}" type="parTrans" cxnId="{ED956E6B-E1AC-4AF2-8542-0AA68F77E7C2}">
      <dgm:prSet/>
      <dgm:spPr/>
      <dgm:t>
        <a:bodyPr/>
        <a:lstStyle/>
        <a:p>
          <a:endParaRPr lang="en-US"/>
        </a:p>
      </dgm:t>
    </dgm:pt>
    <dgm:pt modelId="{71A7307E-BAD9-4878-A562-67515294AB2A}" type="sibTrans" cxnId="{ED956E6B-E1AC-4AF2-8542-0AA68F77E7C2}">
      <dgm:prSet/>
      <dgm:spPr/>
      <dgm:t>
        <a:bodyPr/>
        <a:lstStyle/>
        <a:p>
          <a:endParaRPr lang="en-US"/>
        </a:p>
      </dgm:t>
    </dgm:pt>
    <dgm:pt modelId="{EA2ABE3D-9802-49BF-848B-E25F28F47685}">
      <dgm:prSet phldrT="[Text]" custT="1"/>
      <dgm:spPr/>
      <dgm:t>
        <a:bodyPr/>
        <a:lstStyle/>
        <a:p>
          <a:r>
            <a:rPr lang="en-US" sz="1600"/>
            <a:t>Article 11, 12, 13</a:t>
          </a:r>
        </a:p>
      </dgm:t>
    </dgm:pt>
    <dgm:pt modelId="{3EF73E97-F7E0-475A-9145-9BBB60B08045}" type="parTrans" cxnId="{B2416A33-FF0E-4F42-AAAD-64F1E9D6A3DF}">
      <dgm:prSet/>
      <dgm:spPr/>
      <dgm:t>
        <a:bodyPr/>
        <a:lstStyle/>
        <a:p>
          <a:endParaRPr lang="en-US"/>
        </a:p>
      </dgm:t>
    </dgm:pt>
    <dgm:pt modelId="{1EAF8258-51E5-43E5-B13D-792EB08128FA}" type="sibTrans" cxnId="{B2416A33-FF0E-4F42-AAAD-64F1E9D6A3DF}">
      <dgm:prSet/>
      <dgm:spPr/>
      <dgm:t>
        <a:bodyPr/>
        <a:lstStyle/>
        <a:p>
          <a:endParaRPr lang="en-US"/>
        </a:p>
      </dgm:t>
    </dgm:pt>
    <dgm:pt modelId="{56422754-7522-440E-88FE-3CE8C6A32545}">
      <dgm:prSet phldrT="[Text]" custT="1"/>
      <dgm:spPr/>
      <dgm:t>
        <a:bodyPr/>
        <a:lstStyle/>
        <a:p>
          <a:r>
            <a:rPr lang="en-US" sz="1600" b="1"/>
            <a:t>Disclosure of Personal Data </a:t>
          </a:r>
        </a:p>
      </dgm:t>
    </dgm:pt>
    <dgm:pt modelId="{4525B8ED-9D9A-462C-BAA7-0CB4288B3F68}" type="parTrans" cxnId="{CA7BAE74-D33B-455D-A415-ED5D49F40412}">
      <dgm:prSet/>
      <dgm:spPr/>
      <dgm:t>
        <a:bodyPr/>
        <a:lstStyle/>
        <a:p>
          <a:endParaRPr lang="en-US"/>
        </a:p>
      </dgm:t>
    </dgm:pt>
    <dgm:pt modelId="{CE49BDE1-DD7E-4804-ABC2-02A26957AD59}" type="sibTrans" cxnId="{CA7BAE74-D33B-455D-A415-ED5D49F40412}">
      <dgm:prSet/>
      <dgm:spPr/>
      <dgm:t>
        <a:bodyPr/>
        <a:lstStyle/>
        <a:p>
          <a:endParaRPr lang="en-US"/>
        </a:p>
      </dgm:t>
    </dgm:pt>
    <dgm:pt modelId="{88A7E9F4-D25F-4D1A-9145-07528B5C34FC}">
      <dgm:prSet phldrT="[Text]" custT="1"/>
      <dgm:spPr/>
      <dgm:t>
        <a:bodyPr/>
        <a:lstStyle/>
        <a:p>
          <a:r>
            <a:rPr lang="en-US" sz="1600"/>
            <a:t>Article 8, 15, 16, 17(1)</a:t>
          </a:r>
        </a:p>
      </dgm:t>
    </dgm:pt>
    <dgm:pt modelId="{1FA331C1-2278-42EF-9D4E-FE25F5C3255D}" type="parTrans" cxnId="{83A91A3C-AA74-4296-AA5F-33D7472521F4}">
      <dgm:prSet/>
      <dgm:spPr/>
      <dgm:t>
        <a:bodyPr/>
        <a:lstStyle/>
        <a:p>
          <a:endParaRPr lang="en-US"/>
        </a:p>
      </dgm:t>
    </dgm:pt>
    <dgm:pt modelId="{D80D828F-67F4-49BB-8A75-DB5FDE8C52A0}" type="sibTrans" cxnId="{83A91A3C-AA74-4296-AA5F-33D7472521F4}">
      <dgm:prSet/>
      <dgm:spPr/>
      <dgm:t>
        <a:bodyPr/>
        <a:lstStyle/>
        <a:p>
          <a:endParaRPr lang="en-US"/>
        </a:p>
      </dgm:t>
    </dgm:pt>
    <dgm:pt modelId="{55B6CBCA-E4E4-4140-940C-C3B31E9603EB}">
      <dgm:prSet phldrT="[Text]" custT="1"/>
      <dgm:spPr/>
      <dgm:t>
        <a:bodyPr/>
        <a:lstStyle/>
        <a:p>
          <a:r>
            <a:rPr lang="en-US" sz="1600"/>
            <a:t>Article 22</a:t>
          </a:r>
        </a:p>
      </dgm:t>
    </dgm:pt>
    <dgm:pt modelId="{527E3B78-C1B3-4640-A01A-CDBE03C44B41}" type="parTrans" cxnId="{084537D2-29B2-4AC8-9DAB-686E09A876E8}">
      <dgm:prSet/>
      <dgm:spPr/>
      <dgm:t>
        <a:bodyPr/>
        <a:lstStyle/>
        <a:p>
          <a:endParaRPr lang="en-US"/>
        </a:p>
      </dgm:t>
    </dgm:pt>
    <dgm:pt modelId="{6F66B710-1933-47FE-81C3-A588F60EFA30}" type="sibTrans" cxnId="{084537D2-29B2-4AC8-9DAB-686E09A876E8}">
      <dgm:prSet/>
      <dgm:spPr/>
      <dgm:t>
        <a:bodyPr/>
        <a:lstStyle/>
        <a:p>
          <a:endParaRPr lang="en-US"/>
        </a:p>
      </dgm:t>
    </dgm:pt>
    <dgm:pt modelId="{42A684C5-6EAF-46FD-BFD6-93F5B029C553}">
      <dgm:prSet phldrT="[Text]" custT="1"/>
      <dgm:spPr/>
      <dgm:t>
        <a:bodyPr/>
        <a:lstStyle/>
        <a:p>
          <a:r>
            <a:rPr lang="en-US" sz="1600" b="1"/>
            <a:t>Destruction and Retention of Personal Data </a:t>
          </a:r>
        </a:p>
      </dgm:t>
    </dgm:pt>
    <dgm:pt modelId="{ABBACD2C-4111-43B9-A60B-99833A3F2D2D}" type="parTrans" cxnId="{1BBFE81E-970D-4729-BB35-733F95C42824}">
      <dgm:prSet/>
      <dgm:spPr/>
      <dgm:t>
        <a:bodyPr/>
        <a:lstStyle/>
        <a:p>
          <a:endParaRPr lang="en-US"/>
        </a:p>
      </dgm:t>
    </dgm:pt>
    <dgm:pt modelId="{3826F824-C1B1-4BCB-92C9-3A5A7D22D71A}" type="sibTrans" cxnId="{1BBFE81E-970D-4729-BB35-733F95C42824}">
      <dgm:prSet/>
      <dgm:spPr/>
      <dgm:t>
        <a:bodyPr/>
        <a:lstStyle/>
        <a:p>
          <a:endParaRPr lang="en-US"/>
        </a:p>
      </dgm:t>
    </dgm:pt>
    <dgm:pt modelId="{F71099F0-6100-4018-9449-C44F3464F736}">
      <dgm:prSet phldrT="[Text]" custT="1"/>
      <dgm:spPr/>
      <dgm:t>
        <a:bodyPr/>
        <a:lstStyle/>
        <a:p>
          <a:r>
            <a:rPr lang="en-US" sz="1600"/>
            <a:t>Article 18</a:t>
          </a:r>
        </a:p>
      </dgm:t>
    </dgm:pt>
    <dgm:pt modelId="{36D92EB0-B6A0-4101-8E0E-115A3ACB2749}" type="parTrans" cxnId="{D43ABE72-2E48-4F2C-8189-F274D3DEA21E}">
      <dgm:prSet/>
      <dgm:spPr/>
      <dgm:t>
        <a:bodyPr/>
        <a:lstStyle/>
        <a:p>
          <a:endParaRPr lang="en-US"/>
        </a:p>
      </dgm:t>
    </dgm:pt>
    <dgm:pt modelId="{D4DB8FE5-8556-4A28-B6A6-B17163C1B662}" type="sibTrans" cxnId="{D43ABE72-2E48-4F2C-8189-F274D3DEA21E}">
      <dgm:prSet/>
      <dgm:spPr/>
      <dgm:t>
        <a:bodyPr/>
        <a:lstStyle/>
        <a:p>
          <a:endParaRPr lang="en-US"/>
        </a:p>
      </dgm:t>
    </dgm:pt>
    <dgm:pt modelId="{FA2A2BDE-879A-47EC-8BB2-2447DB26B811}">
      <dgm:prSet phldrT="[Text]" custT="1"/>
      <dgm:spPr/>
      <dgm:t>
        <a:bodyPr/>
        <a:lstStyle/>
        <a:p>
          <a:r>
            <a:rPr lang="en-US" sz="1600" b="1"/>
            <a:t>Measures for protection of personal data </a:t>
          </a:r>
        </a:p>
      </dgm:t>
    </dgm:pt>
    <dgm:pt modelId="{9F90C433-866D-460F-B98D-5673C663D326}" type="parTrans" cxnId="{E2869A15-D0D4-469F-88B0-B14F32643ABE}">
      <dgm:prSet/>
      <dgm:spPr/>
      <dgm:t>
        <a:bodyPr/>
        <a:lstStyle/>
        <a:p>
          <a:endParaRPr lang="en-US"/>
        </a:p>
      </dgm:t>
    </dgm:pt>
    <dgm:pt modelId="{B5AC1A06-80D7-4736-8CC7-49686D43A5E9}" type="sibTrans" cxnId="{E2869A15-D0D4-469F-88B0-B14F32643ABE}">
      <dgm:prSet/>
      <dgm:spPr/>
      <dgm:t>
        <a:bodyPr/>
        <a:lstStyle/>
        <a:p>
          <a:endParaRPr lang="en-US"/>
        </a:p>
      </dgm:t>
    </dgm:pt>
    <dgm:pt modelId="{D0CB1A80-1C19-430E-9EFD-FE15163F1B22}">
      <dgm:prSet phldrT="[Text]" custT="1"/>
      <dgm:spPr/>
      <dgm:t>
        <a:bodyPr/>
        <a:lstStyle/>
        <a:p>
          <a:r>
            <a:rPr lang="en-US" sz="1600"/>
            <a:t>Article 11, 19, 28, 41</a:t>
          </a:r>
        </a:p>
      </dgm:t>
    </dgm:pt>
    <dgm:pt modelId="{D4FCCD40-B76A-403D-9BD7-72B897BABD89}" type="parTrans" cxnId="{2CF2E7F0-BCED-4873-920E-312BCBD3760E}">
      <dgm:prSet/>
      <dgm:spPr/>
      <dgm:t>
        <a:bodyPr/>
        <a:lstStyle/>
        <a:p>
          <a:endParaRPr lang="en-US"/>
        </a:p>
      </dgm:t>
    </dgm:pt>
    <dgm:pt modelId="{5E43E766-AEBC-4F7B-BED6-0DEDC6A2147E}" type="sibTrans" cxnId="{2CF2E7F0-BCED-4873-920E-312BCBD3760E}">
      <dgm:prSet/>
      <dgm:spPr/>
      <dgm:t>
        <a:bodyPr/>
        <a:lstStyle/>
        <a:p>
          <a:endParaRPr lang="en-US"/>
        </a:p>
      </dgm:t>
    </dgm:pt>
    <dgm:pt modelId="{FF9F2BAE-601C-4C83-B298-9B57C40DB025}">
      <dgm:prSet phldrT="[Text]" custT="1"/>
      <dgm:spPr/>
      <dgm:t>
        <a:bodyPr/>
        <a:lstStyle/>
        <a:p>
          <a:r>
            <a:rPr lang="en-US" sz="1600" b="1"/>
            <a:t>Data Breach Notification </a:t>
          </a:r>
        </a:p>
      </dgm:t>
    </dgm:pt>
    <dgm:pt modelId="{4337D55E-B5AA-4497-B546-9224ECCCB64E}" type="parTrans" cxnId="{5B0B0492-1E81-4A78-BC00-10F86A65A12C}">
      <dgm:prSet/>
      <dgm:spPr/>
      <dgm:t>
        <a:bodyPr/>
        <a:lstStyle/>
        <a:p>
          <a:endParaRPr lang="en-US"/>
        </a:p>
      </dgm:t>
    </dgm:pt>
    <dgm:pt modelId="{C05A3979-4A64-4600-8080-4701E8D86635}" type="sibTrans" cxnId="{5B0B0492-1E81-4A78-BC00-10F86A65A12C}">
      <dgm:prSet/>
      <dgm:spPr/>
      <dgm:t>
        <a:bodyPr/>
        <a:lstStyle/>
        <a:p>
          <a:endParaRPr lang="en-US"/>
        </a:p>
      </dgm:t>
    </dgm:pt>
    <dgm:pt modelId="{BDD023E6-45E3-47A1-966A-F8C2D3054E64}">
      <dgm:prSet phldrT="[Text]" custT="1"/>
      <dgm:spPr/>
      <dgm:t>
        <a:bodyPr/>
        <a:lstStyle/>
        <a:p>
          <a:r>
            <a:rPr lang="en-US" sz="1600"/>
            <a:t>Article 20</a:t>
          </a:r>
        </a:p>
      </dgm:t>
    </dgm:pt>
    <dgm:pt modelId="{B8277557-A38B-478C-B630-D622D82E2DA2}" type="parTrans" cxnId="{2E2E013E-8E22-44C3-902B-D0BCEFC5599E}">
      <dgm:prSet/>
      <dgm:spPr/>
      <dgm:t>
        <a:bodyPr/>
        <a:lstStyle/>
        <a:p>
          <a:endParaRPr lang="en-US"/>
        </a:p>
      </dgm:t>
    </dgm:pt>
    <dgm:pt modelId="{A29B667E-DC50-47B4-AB88-A4D934011827}" type="sibTrans" cxnId="{2E2E013E-8E22-44C3-902B-D0BCEFC5599E}">
      <dgm:prSet/>
      <dgm:spPr/>
      <dgm:t>
        <a:bodyPr/>
        <a:lstStyle/>
        <a:p>
          <a:endParaRPr lang="en-US"/>
        </a:p>
      </dgm:t>
    </dgm:pt>
    <dgm:pt modelId="{0932B15F-8B9C-4544-8DC2-F2749ED00A5C}">
      <dgm:prSet phldrT="[Text]" custT="1"/>
      <dgm:spPr/>
      <dgm:t>
        <a:bodyPr/>
        <a:lstStyle/>
        <a:p>
          <a:r>
            <a:rPr lang="en-US" sz="1600" b="1"/>
            <a:t>Data Protection Impact Assessment</a:t>
          </a:r>
        </a:p>
      </dgm:t>
    </dgm:pt>
    <dgm:pt modelId="{2C409E9F-0F6E-4134-90C1-BEFE11D9EB0B}" type="parTrans" cxnId="{09DEF672-D90A-47CA-9BA9-AEB385FE889D}">
      <dgm:prSet/>
      <dgm:spPr/>
      <dgm:t>
        <a:bodyPr/>
        <a:lstStyle/>
        <a:p>
          <a:endParaRPr lang="en-US"/>
        </a:p>
      </dgm:t>
    </dgm:pt>
    <dgm:pt modelId="{17215D86-5F3D-4DE3-A34C-A77C6660EB3B}" type="sibTrans" cxnId="{09DEF672-D90A-47CA-9BA9-AEB385FE889D}">
      <dgm:prSet/>
      <dgm:spPr/>
      <dgm:t>
        <a:bodyPr/>
        <a:lstStyle/>
        <a:p>
          <a:endParaRPr lang="en-US"/>
        </a:p>
      </dgm:t>
    </dgm:pt>
    <dgm:pt modelId="{2BC1E461-5417-4E9F-85BB-4594DBEF5D35}" type="pres">
      <dgm:prSet presAssocID="{CA82F513-1CAF-4586-AF4C-B16D8557977D}" presName="linear" presStyleCnt="0">
        <dgm:presLayoutVars>
          <dgm:animLvl val="lvl"/>
          <dgm:resizeHandles val="exact"/>
        </dgm:presLayoutVars>
      </dgm:prSet>
      <dgm:spPr/>
    </dgm:pt>
    <dgm:pt modelId="{0976AF54-611B-4529-A8B5-F2BC127022E0}" type="pres">
      <dgm:prSet presAssocID="{E1D3D13B-5D9F-400E-9A40-025A09A6C3EE}" presName="parentText" presStyleLbl="node1" presStyleIdx="0" presStyleCnt="8">
        <dgm:presLayoutVars>
          <dgm:chMax val="0"/>
          <dgm:bulletEnabled val="1"/>
        </dgm:presLayoutVars>
      </dgm:prSet>
      <dgm:spPr/>
    </dgm:pt>
    <dgm:pt modelId="{46A9AC13-1C95-4AA3-8A24-EF52D23D754C}" type="pres">
      <dgm:prSet presAssocID="{E1D3D13B-5D9F-400E-9A40-025A09A6C3EE}" presName="childText" presStyleLbl="revTx" presStyleIdx="0" presStyleCnt="8">
        <dgm:presLayoutVars>
          <dgm:bulletEnabled val="1"/>
        </dgm:presLayoutVars>
      </dgm:prSet>
      <dgm:spPr/>
    </dgm:pt>
    <dgm:pt modelId="{81F35B60-7D12-44DF-B41C-BE232A445E33}" type="pres">
      <dgm:prSet presAssocID="{CF6451A3-02FF-409F-ADDE-F9966EB6B83F}" presName="parentText" presStyleLbl="node1" presStyleIdx="1" presStyleCnt="8">
        <dgm:presLayoutVars>
          <dgm:chMax val="0"/>
          <dgm:bulletEnabled val="1"/>
        </dgm:presLayoutVars>
      </dgm:prSet>
      <dgm:spPr/>
    </dgm:pt>
    <dgm:pt modelId="{930585F5-9D73-4022-9449-6BA3EF658735}" type="pres">
      <dgm:prSet presAssocID="{CF6451A3-02FF-409F-ADDE-F9966EB6B83F}" presName="childText" presStyleLbl="revTx" presStyleIdx="1" presStyleCnt="8">
        <dgm:presLayoutVars>
          <dgm:bulletEnabled val="1"/>
        </dgm:presLayoutVars>
      </dgm:prSet>
      <dgm:spPr/>
    </dgm:pt>
    <dgm:pt modelId="{6F8C8A9C-4847-45AF-AD33-CBC2DA9AE4F2}" type="pres">
      <dgm:prSet presAssocID="{F805301A-27C6-4C1A-95D9-AAE30EB1601B}" presName="parentText" presStyleLbl="node1" presStyleIdx="2" presStyleCnt="8">
        <dgm:presLayoutVars>
          <dgm:chMax val="0"/>
          <dgm:bulletEnabled val="1"/>
        </dgm:presLayoutVars>
      </dgm:prSet>
      <dgm:spPr/>
    </dgm:pt>
    <dgm:pt modelId="{0584C990-0725-490A-95CC-A0B5CD542249}" type="pres">
      <dgm:prSet presAssocID="{F805301A-27C6-4C1A-95D9-AAE30EB1601B}" presName="childText" presStyleLbl="revTx" presStyleIdx="2" presStyleCnt="8">
        <dgm:presLayoutVars>
          <dgm:bulletEnabled val="1"/>
        </dgm:presLayoutVars>
      </dgm:prSet>
      <dgm:spPr/>
    </dgm:pt>
    <dgm:pt modelId="{B96B3808-EFB7-449B-81CD-F5B427175689}" type="pres">
      <dgm:prSet presAssocID="{56422754-7522-440E-88FE-3CE8C6A32545}" presName="parentText" presStyleLbl="node1" presStyleIdx="3" presStyleCnt="8">
        <dgm:presLayoutVars>
          <dgm:chMax val="0"/>
          <dgm:bulletEnabled val="1"/>
        </dgm:presLayoutVars>
      </dgm:prSet>
      <dgm:spPr/>
    </dgm:pt>
    <dgm:pt modelId="{D34F1DE8-0B0D-4DB1-A3FB-DF29EE8E5867}" type="pres">
      <dgm:prSet presAssocID="{56422754-7522-440E-88FE-3CE8C6A32545}" presName="childText" presStyleLbl="revTx" presStyleIdx="3" presStyleCnt="8">
        <dgm:presLayoutVars>
          <dgm:bulletEnabled val="1"/>
        </dgm:presLayoutVars>
      </dgm:prSet>
      <dgm:spPr/>
    </dgm:pt>
    <dgm:pt modelId="{F0B3BD30-CF76-4CFD-BE0E-3F534D9EB2BD}" type="pres">
      <dgm:prSet presAssocID="{42A684C5-6EAF-46FD-BFD6-93F5B029C553}" presName="parentText" presStyleLbl="node1" presStyleIdx="4" presStyleCnt="8">
        <dgm:presLayoutVars>
          <dgm:chMax val="0"/>
          <dgm:bulletEnabled val="1"/>
        </dgm:presLayoutVars>
      </dgm:prSet>
      <dgm:spPr/>
    </dgm:pt>
    <dgm:pt modelId="{EC2E72D9-5CEE-40C9-B490-D70A8A72127A}" type="pres">
      <dgm:prSet presAssocID="{42A684C5-6EAF-46FD-BFD6-93F5B029C553}" presName="childText" presStyleLbl="revTx" presStyleIdx="4" presStyleCnt="8">
        <dgm:presLayoutVars>
          <dgm:bulletEnabled val="1"/>
        </dgm:presLayoutVars>
      </dgm:prSet>
      <dgm:spPr/>
    </dgm:pt>
    <dgm:pt modelId="{05E7826D-5E82-40B8-B8EE-15D996C26F67}" type="pres">
      <dgm:prSet presAssocID="{FA2A2BDE-879A-47EC-8BB2-2447DB26B811}" presName="parentText" presStyleLbl="node1" presStyleIdx="5" presStyleCnt="8">
        <dgm:presLayoutVars>
          <dgm:chMax val="0"/>
          <dgm:bulletEnabled val="1"/>
        </dgm:presLayoutVars>
      </dgm:prSet>
      <dgm:spPr/>
    </dgm:pt>
    <dgm:pt modelId="{7579C9D1-AE4F-4DC8-B914-6FDF06682270}" type="pres">
      <dgm:prSet presAssocID="{FA2A2BDE-879A-47EC-8BB2-2447DB26B811}" presName="childText" presStyleLbl="revTx" presStyleIdx="5" presStyleCnt="8">
        <dgm:presLayoutVars>
          <dgm:bulletEnabled val="1"/>
        </dgm:presLayoutVars>
      </dgm:prSet>
      <dgm:spPr/>
    </dgm:pt>
    <dgm:pt modelId="{C4C40E9E-F000-4AD3-B230-038938F557E7}" type="pres">
      <dgm:prSet presAssocID="{FF9F2BAE-601C-4C83-B298-9B57C40DB025}" presName="parentText" presStyleLbl="node1" presStyleIdx="6" presStyleCnt="8">
        <dgm:presLayoutVars>
          <dgm:chMax val="0"/>
          <dgm:bulletEnabled val="1"/>
        </dgm:presLayoutVars>
      </dgm:prSet>
      <dgm:spPr/>
    </dgm:pt>
    <dgm:pt modelId="{7724B1EA-B460-4FE5-A129-B019CED3C08E}" type="pres">
      <dgm:prSet presAssocID="{FF9F2BAE-601C-4C83-B298-9B57C40DB025}" presName="childText" presStyleLbl="revTx" presStyleIdx="6" presStyleCnt="8">
        <dgm:presLayoutVars>
          <dgm:bulletEnabled val="1"/>
        </dgm:presLayoutVars>
      </dgm:prSet>
      <dgm:spPr/>
    </dgm:pt>
    <dgm:pt modelId="{2D3C8777-3151-45A8-B3B5-5C383A91ED96}" type="pres">
      <dgm:prSet presAssocID="{0932B15F-8B9C-4544-8DC2-F2749ED00A5C}" presName="parentText" presStyleLbl="node1" presStyleIdx="7" presStyleCnt="8">
        <dgm:presLayoutVars>
          <dgm:chMax val="0"/>
          <dgm:bulletEnabled val="1"/>
        </dgm:presLayoutVars>
      </dgm:prSet>
      <dgm:spPr/>
    </dgm:pt>
    <dgm:pt modelId="{147861C4-541F-4BFB-ACE0-5F693C3FFB2A}" type="pres">
      <dgm:prSet presAssocID="{0932B15F-8B9C-4544-8DC2-F2749ED00A5C}" presName="childText" presStyleLbl="revTx" presStyleIdx="7" presStyleCnt="8">
        <dgm:presLayoutVars>
          <dgm:bulletEnabled val="1"/>
        </dgm:presLayoutVars>
      </dgm:prSet>
      <dgm:spPr/>
    </dgm:pt>
  </dgm:ptLst>
  <dgm:cxnLst>
    <dgm:cxn modelId="{E2869A15-D0D4-469F-88B0-B14F32643ABE}" srcId="{CA82F513-1CAF-4586-AF4C-B16D8557977D}" destId="{FA2A2BDE-879A-47EC-8BB2-2447DB26B811}" srcOrd="5" destOrd="0" parTransId="{9F90C433-866D-460F-B98D-5673C663D326}" sibTransId="{B5AC1A06-80D7-4736-8CC7-49686D43A5E9}"/>
    <dgm:cxn modelId="{1BBFE81E-970D-4729-BB35-733F95C42824}" srcId="{CA82F513-1CAF-4586-AF4C-B16D8557977D}" destId="{42A684C5-6EAF-46FD-BFD6-93F5B029C553}" srcOrd="4" destOrd="0" parTransId="{ABBACD2C-4111-43B9-A60B-99833A3F2D2D}" sibTransId="{3826F824-C1B1-4BCB-92C9-3A5A7D22D71A}"/>
    <dgm:cxn modelId="{62F0011F-CE08-43AA-9AE3-922C355F9AF3}" type="presOf" srcId="{56422754-7522-440E-88FE-3CE8C6A32545}" destId="{B96B3808-EFB7-449B-81CD-F5B427175689}" srcOrd="0" destOrd="0" presId="urn:microsoft.com/office/officeart/2005/8/layout/vList2"/>
    <dgm:cxn modelId="{06B32920-BF06-4566-9D89-927D187BB9F4}" srcId="{CA82F513-1CAF-4586-AF4C-B16D8557977D}" destId="{CF6451A3-02FF-409F-ADDE-F9966EB6B83F}" srcOrd="1" destOrd="0" parTransId="{E1F1D128-FFD3-42AE-936D-B2E5FED1A10B}" sibTransId="{FB445B9D-F2F2-4F15-AA51-B9C92CF477C1}"/>
    <dgm:cxn modelId="{7350D02A-EF07-4E59-ACA3-CF86C759A03B}" type="presOf" srcId="{EA2ABE3D-9802-49BF-848B-E25F28F47685}" destId="{0584C990-0725-490A-95CC-A0B5CD542249}" srcOrd="0" destOrd="0" presId="urn:microsoft.com/office/officeart/2005/8/layout/vList2"/>
    <dgm:cxn modelId="{B2416A33-FF0E-4F42-AAAD-64F1E9D6A3DF}" srcId="{F805301A-27C6-4C1A-95D9-AAE30EB1601B}" destId="{EA2ABE3D-9802-49BF-848B-E25F28F47685}" srcOrd="0" destOrd="0" parTransId="{3EF73E97-F7E0-475A-9145-9BBB60B08045}" sibTransId="{1EAF8258-51E5-43E5-B13D-792EB08128FA}"/>
    <dgm:cxn modelId="{EBD96D39-F0D5-4767-8236-85EABE70DECB}" type="presOf" srcId="{7C3A358B-078B-4195-9B26-1EFFC3616A6D}" destId="{46A9AC13-1C95-4AA3-8A24-EF52D23D754C}" srcOrd="0" destOrd="0" presId="urn:microsoft.com/office/officeart/2005/8/layout/vList2"/>
    <dgm:cxn modelId="{83A91A3C-AA74-4296-AA5F-33D7472521F4}" srcId="{56422754-7522-440E-88FE-3CE8C6A32545}" destId="{88A7E9F4-D25F-4D1A-9145-07528B5C34FC}" srcOrd="0" destOrd="0" parTransId="{1FA331C1-2278-42EF-9D4E-FE25F5C3255D}" sibTransId="{D80D828F-67F4-49BB-8A75-DB5FDE8C52A0}"/>
    <dgm:cxn modelId="{2E2E013E-8E22-44C3-902B-D0BCEFC5599E}" srcId="{FF9F2BAE-601C-4C83-B298-9B57C40DB025}" destId="{BDD023E6-45E3-47A1-966A-F8C2D3054E64}" srcOrd="0" destOrd="0" parTransId="{B8277557-A38B-478C-B630-D622D82E2DA2}" sibTransId="{A29B667E-DC50-47B4-AB88-A4D934011827}"/>
    <dgm:cxn modelId="{8CFDEF43-0E68-4380-A01B-8EB274B20CC1}" type="presOf" srcId="{BDD023E6-45E3-47A1-966A-F8C2D3054E64}" destId="{7724B1EA-B460-4FE5-A129-B019CED3C08E}" srcOrd="0" destOrd="0" presId="urn:microsoft.com/office/officeart/2005/8/layout/vList2"/>
    <dgm:cxn modelId="{8B769765-C1C2-49A8-94BC-35852A9A5D96}" type="presOf" srcId="{CF6451A3-02FF-409F-ADDE-F9966EB6B83F}" destId="{81F35B60-7D12-44DF-B41C-BE232A445E33}" srcOrd="0" destOrd="0" presId="urn:microsoft.com/office/officeart/2005/8/layout/vList2"/>
    <dgm:cxn modelId="{ED956E6B-E1AC-4AF2-8542-0AA68F77E7C2}" srcId="{CA82F513-1CAF-4586-AF4C-B16D8557977D}" destId="{F805301A-27C6-4C1A-95D9-AAE30EB1601B}" srcOrd="2" destOrd="0" parTransId="{694363DB-EE61-470F-AAA6-9091E57B336F}" sibTransId="{71A7307E-BAD9-4878-A562-67515294AB2A}"/>
    <dgm:cxn modelId="{D43ABE72-2E48-4F2C-8189-F274D3DEA21E}" srcId="{42A684C5-6EAF-46FD-BFD6-93F5B029C553}" destId="{F71099F0-6100-4018-9449-C44F3464F736}" srcOrd="0" destOrd="0" parTransId="{36D92EB0-B6A0-4101-8E0E-115A3ACB2749}" sibTransId="{D4DB8FE5-8556-4A28-B6A6-B17163C1B662}"/>
    <dgm:cxn modelId="{09DEF672-D90A-47CA-9BA9-AEB385FE889D}" srcId="{CA82F513-1CAF-4586-AF4C-B16D8557977D}" destId="{0932B15F-8B9C-4544-8DC2-F2749ED00A5C}" srcOrd="7" destOrd="0" parTransId="{2C409E9F-0F6E-4134-90C1-BEFE11D9EB0B}" sibTransId="{17215D86-5F3D-4DE3-A34C-A77C6660EB3B}"/>
    <dgm:cxn modelId="{878FF853-B797-449B-A795-EE417287AF0D}" type="presOf" srcId="{88A7E9F4-D25F-4D1A-9145-07528B5C34FC}" destId="{D34F1DE8-0B0D-4DB1-A3FB-DF29EE8E5867}" srcOrd="0" destOrd="0" presId="urn:microsoft.com/office/officeart/2005/8/layout/vList2"/>
    <dgm:cxn modelId="{CA7BAE74-D33B-455D-A415-ED5D49F40412}" srcId="{CA82F513-1CAF-4586-AF4C-B16D8557977D}" destId="{56422754-7522-440E-88FE-3CE8C6A32545}" srcOrd="3" destOrd="0" parTransId="{4525B8ED-9D9A-462C-BAA7-0CB4288B3F68}" sibTransId="{CE49BDE1-DD7E-4804-ABC2-02A26957AD59}"/>
    <dgm:cxn modelId="{0E58917B-C4F8-4C3E-9A20-4095C9DC751D}" type="presOf" srcId="{42A684C5-6EAF-46FD-BFD6-93F5B029C553}" destId="{F0B3BD30-CF76-4CFD-BE0E-3F534D9EB2BD}" srcOrd="0" destOrd="0" presId="urn:microsoft.com/office/officeart/2005/8/layout/vList2"/>
    <dgm:cxn modelId="{4EC3DE8E-661D-4A53-9051-2AA1D3BA69CB}" type="presOf" srcId="{FF9F2BAE-601C-4C83-B298-9B57C40DB025}" destId="{C4C40E9E-F000-4AD3-B230-038938F557E7}" srcOrd="0" destOrd="0" presId="urn:microsoft.com/office/officeart/2005/8/layout/vList2"/>
    <dgm:cxn modelId="{6D22F18E-A427-4FA7-92C4-974DF1B094B0}" srcId="{CF6451A3-02FF-409F-ADDE-F9966EB6B83F}" destId="{1D1DF0C9-87D3-467C-9757-4C9DA4EA735C}" srcOrd="0" destOrd="0" parTransId="{B3FDC365-FEDF-4F77-9410-3D3214617DA2}" sibTransId="{6D17B3CC-D8E0-4B30-B800-CBF0E52BAD70}"/>
    <dgm:cxn modelId="{5B0B0492-1E81-4A78-BC00-10F86A65A12C}" srcId="{CA82F513-1CAF-4586-AF4C-B16D8557977D}" destId="{FF9F2BAE-601C-4C83-B298-9B57C40DB025}" srcOrd="6" destOrd="0" parTransId="{4337D55E-B5AA-4497-B546-9224ECCCB64E}" sibTransId="{C05A3979-4A64-4600-8080-4701E8D86635}"/>
    <dgm:cxn modelId="{D28B3C96-185C-4262-8957-4A8998CA5DA6}" type="presOf" srcId="{E1D3D13B-5D9F-400E-9A40-025A09A6C3EE}" destId="{0976AF54-611B-4529-A8B5-F2BC127022E0}" srcOrd="0" destOrd="0" presId="urn:microsoft.com/office/officeart/2005/8/layout/vList2"/>
    <dgm:cxn modelId="{E1FBCA96-6D3A-406D-89FF-6614DEDBFE73}" type="presOf" srcId="{D0CB1A80-1C19-430E-9EFD-FE15163F1B22}" destId="{7579C9D1-AE4F-4DC8-B914-6FDF06682270}" srcOrd="0" destOrd="0" presId="urn:microsoft.com/office/officeart/2005/8/layout/vList2"/>
    <dgm:cxn modelId="{144E519A-6863-48A2-88CE-0487E44E5D63}" type="presOf" srcId="{F805301A-27C6-4C1A-95D9-AAE30EB1601B}" destId="{6F8C8A9C-4847-45AF-AD33-CBC2DA9AE4F2}" srcOrd="0" destOrd="0" presId="urn:microsoft.com/office/officeart/2005/8/layout/vList2"/>
    <dgm:cxn modelId="{914BE6C1-F242-4738-8BD5-9A8D6436162B}" type="presOf" srcId="{1D1DF0C9-87D3-467C-9757-4C9DA4EA735C}" destId="{930585F5-9D73-4022-9449-6BA3EF658735}" srcOrd="0" destOrd="0" presId="urn:microsoft.com/office/officeart/2005/8/layout/vList2"/>
    <dgm:cxn modelId="{9046AFC2-C4F8-424B-A47F-EB623186F34D}" srcId="{CA82F513-1CAF-4586-AF4C-B16D8557977D}" destId="{E1D3D13B-5D9F-400E-9A40-025A09A6C3EE}" srcOrd="0" destOrd="0" parTransId="{B0EE815D-AB3D-4D59-9398-35F50EB577F5}" sibTransId="{EB50611F-E67C-4015-ACC9-2331529F2674}"/>
    <dgm:cxn modelId="{172967CF-F790-4524-A8F6-944D2FD82853}" type="presOf" srcId="{0932B15F-8B9C-4544-8DC2-F2749ED00A5C}" destId="{2D3C8777-3151-45A8-B3B5-5C383A91ED96}" srcOrd="0" destOrd="0" presId="urn:microsoft.com/office/officeart/2005/8/layout/vList2"/>
    <dgm:cxn modelId="{9BA4E7D0-05A2-49E8-B5C5-CDE7DA0A38C8}" type="presOf" srcId="{CA82F513-1CAF-4586-AF4C-B16D8557977D}" destId="{2BC1E461-5417-4E9F-85BB-4594DBEF5D35}" srcOrd="0" destOrd="0" presId="urn:microsoft.com/office/officeart/2005/8/layout/vList2"/>
    <dgm:cxn modelId="{084537D2-29B2-4AC8-9DAB-686E09A876E8}" srcId="{0932B15F-8B9C-4544-8DC2-F2749ED00A5C}" destId="{55B6CBCA-E4E4-4140-940C-C3B31E9603EB}" srcOrd="0" destOrd="0" parTransId="{527E3B78-C1B3-4640-A01A-CDBE03C44B41}" sibTransId="{6F66B710-1933-47FE-81C3-A588F60EFA30}"/>
    <dgm:cxn modelId="{D8BF9CDE-CD00-4CDD-92B8-7AFB4AD182F9}" srcId="{E1D3D13B-5D9F-400E-9A40-025A09A6C3EE}" destId="{7C3A358B-078B-4195-9B26-1EFFC3616A6D}" srcOrd="0" destOrd="0" parTransId="{4213FC18-2E20-4EBF-BEA4-7EC2D427DA99}" sibTransId="{591790F2-2A86-4419-84E7-B8785C1B906E}"/>
    <dgm:cxn modelId="{9559D4EE-9AE9-47FB-9FBF-298D151F7745}" type="presOf" srcId="{FA2A2BDE-879A-47EC-8BB2-2447DB26B811}" destId="{05E7826D-5E82-40B8-B8EE-15D996C26F67}" srcOrd="0" destOrd="0" presId="urn:microsoft.com/office/officeart/2005/8/layout/vList2"/>
    <dgm:cxn modelId="{2CF2E7F0-BCED-4873-920E-312BCBD3760E}" srcId="{FA2A2BDE-879A-47EC-8BB2-2447DB26B811}" destId="{D0CB1A80-1C19-430E-9EFD-FE15163F1B22}" srcOrd="0" destOrd="0" parTransId="{D4FCCD40-B76A-403D-9BD7-72B897BABD89}" sibTransId="{5E43E766-AEBC-4F7B-BED6-0DEDC6A2147E}"/>
    <dgm:cxn modelId="{FB3EDDF1-A1BE-449E-A642-E2E753BD6D91}" type="presOf" srcId="{F71099F0-6100-4018-9449-C44F3464F736}" destId="{EC2E72D9-5CEE-40C9-B490-D70A8A72127A}" srcOrd="0" destOrd="0" presId="urn:microsoft.com/office/officeart/2005/8/layout/vList2"/>
    <dgm:cxn modelId="{C45509FB-C8D9-49B1-8E3F-65AE37F72959}" type="presOf" srcId="{55B6CBCA-E4E4-4140-940C-C3B31E9603EB}" destId="{147861C4-541F-4BFB-ACE0-5F693C3FFB2A}" srcOrd="0" destOrd="0" presId="urn:microsoft.com/office/officeart/2005/8/layout/vList2"/>
    <dgm:cxn modelId="{B157AABF-3F15-42E0-A681-C55BB6AB58FC}" type="presParOf" srcId="{2BC1E461-5417-4E9F-85BB-4594DBEF5D35}" destId="{0976AF54-611B-4529-A8B5-F2BC127022E0}" srcOrd="0" destOrd="0" presId="urn:microsoft.com/office/officeart/2005/8/layout/vList2"/>
    <dgm:cxn modelId="{075CEC93-8D29-4C0B-B254-F3D3CB9B8C5F}" type="presParOf" srcId="{2BC1E461-5417-4E9F-85BB-4594DBEF5D35}" destId="{46A9AC13-1C95-4AA3-8A24-EF52D23D754C}" srcOrd="1" destOrd="0" presId="urn:microsoft.com/office/officeart/2005/8/layout/vList2"/>
    <dgm:cxn modelId="{EC894710-C279-42E9-8F04-979B30B79DDB}" type="presParOf" srcId="{2BC1E461-5417-4E9F-85BB-4594DBEF5D35}" destId="{81F35B60-7D12-44DF-B41C-BE232A445E33}" srcOrd="2" destOrd="0" presId="urn:microsoft.com/office/officeart/2005/8/layout/vList2"/>
    <dgm:cxn modelId="{669E4D6E-B45F-44A2-842A-E81C779D629A}" type="presParOf" srcId="{2BC1E461-5417-4E9F-85BB-4594DBEF5D35}" destId="{930585F5-9D73-4022-9449-6BA3EF658735}" srcOrd="3" destOrd="0" presId="urn:microsoft.com/office/officeart/2005/8/layout/vList2"/>
    <dgm:cxn modelId="{B116A034-6EFD-4A91-A0B7-4B29CDDD5AA0}" type="presParOf" srcId="{2BC1E461-5417-4E9F-85BB-4594DBEF5D35}" destId="{6F8C8A9C-4847-45AF-AD33-CBC2DA9AE4F2}" srcOrd="4" destOrd="0" presId="urn:microsoft.com/office/officeart/2005/8/layout/vList2"/>
    <dgm:cxn modelId="{2509353E-5C43-4CB7-944F-F3A8C4F12FBC}" type="presParOf" srcId="{2BC1E461-5417-4E9F-85BB-4594DBEF5D35}" destId="{0584C990-0725-490A-95CC-A0B5CD542249}" srcOrd="5" destOrd="0" presId="urn:microsoft.com/office/officeart/2005/8/layout/vList2"/>
    <dgm:cxn modelId="{37875497-0F37-4F56-8D47-14111A411713}" type="presParOf" srcId="{2BC1E461-5417-4E9F-85BB-4594DBEF5D35}" destId="{B96B3808-EFB7-449B-81CD-F5B427175689}" srcOrd="6" destOrd="0" presId="urn:microsoft.com/office/officeart/2005/8/layout/vList2"/>
    <dgm:cxn modelId="{003BBF61-0F06-41D8-8E47-1B8F81C2E847}" type="presParOf" srcId="{2BC1E461-5417-4E9F-85BB-4594DBEF5D35}" destId="{D34F1DE8-0B0D-4DB1-A3FB-DF29EE8E5867}" srcOrd="7" destOrd="0" presId="urn:microsoft.com/office/officeart/2005/8/layout/vList2"/>
    <dgm:cxn modelId="{9C64ADC4-054B-4BCA-9D8B-0A6F79B3950C}" type="presParOf" srcId="{2BC1E461-5417-4E9F-85BB-4594DBEF5D35}" destId="{F0B3BD30-CF76-4CFD-BE0E-3F534D9EB2BD}" srcOrd="8" destOrd="0" presId="urn:microsoft.com/office/officeart/2005/8/layout/vList2"/>
    <dgm:cxn modelId="{DE365B22-4944-49A6-8AC9-F22DCC6A5075}" type="presParOf" srcId="{2BC1E461-5417-4E9F-85BB-4594DBEF5D35}" destId="{EC2E72D9-5CEE-40C9-B490-D70A8A72127A}" srcOrd="9" destOrd="0" presId="urn:microsoft.com/office/officeart/2005/8/layout/vList2"/>
    <dgm:cxn modelId="{9E185C79-1B83-4D6B-9A51-4D793096A7C6}" type="presParOf" srcId="{2BC1E461-5417-4E9F-85BB-4594DBEF5D35}" destId="{05E7826D-5E82-40B8-B8EE-15D996C26F67}" srcOrd="10" destOrd="0" presId="urn:microsoft.com/office/officeart/2005/8/layout/vList2"/>
    <dgm:cxn modelId="{666595CF-53DB-4B1B-9B46-F43FB557257D}" type="presParOf" srcId="{2BC1E461-5417-4E9F-85BB-4594DBEF5D35}" destId="{7579C9D1-AE4F-4DC8-B914-6FDF06682270}" srcOrd="11" destOrd="0" presId="urn:microsoft.com/office/officeart/2005/8/layout/vList2"/>
    <dgm:cxn modelId="{742E6C8C-BB94-4F7F-98E6-4FFD833E98E6}" type="presParOf" srcId="{2BC1E461-5417-4E9F-85BB-4594DBEF5D35}" destId="{C4C40E9E-F000-4AD3-B230-038938F557E7}" srcOrd="12" destOrd="0" presId="urn:microsoft.com/office/officeart/2005/8/layout/vList2"/>
    <dgm:cxn modelId="{99849493-8792-4A06-A872-6549BD276F78}" type="presParOf" srcId="{2BC1E461-5417-4E9F-85BB-4594DBEF5D35}" destId="{7724B1EA-B460-4FE5-A129-B019CED3C08E}" srcOrd="13" destOrd="0" presId="urn:microsoft.com/office/officeart/2005/8/layout/vList2"/>
    <dgm:cxn modelId="{742D26B5-1928-4CB3-995D-D7DB80AC97F6}" type="presParOf" srcId="{2BC1E461-5417-4E9F-85BB-4594DBEF5D35}" destId="{2D3C8777-3151-45A8-B3B5-5C383A91ED96}" srcOrd="14" destOrd="0" presId="urn:microsoft.com/office/officeart/2005/8/layout/vList2"/>
    <dgm:cxn modelId="{ABBAF52D-5606-460D-ABA4-E86598FB4E34}" type="presParOf" srcId="{2BC1E461-5417-4E9F-85BB-4594DBEF5D35}" destId="{147861C4-541F-4BFB-ACE0-5F693C3FFB2A}" srcOrd="1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82F513-1CAF-4586-AF4C-B16D8557977D}"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E1D3D13B-5D9F-400E-9A40-025A09A6C3EE}">
      <dgm:prSet phldrT="[Text]" custT="1"/>
      <dgm:spPr/>
      <dgm:t>
        <a:bodyPr/>
        <a:lstStyle/>
        <a:p>
          <a:r>
            <a:rPr lang="en-US" sz="1600" b="1"/>
            <a:t>Training and awareness of data subjects </a:t>
          </a:r>
        </a:p>
      </dgm:t>
    </dgm:pt>
    <dgm:pt modelId="{B0EE815D-AB3D-4D59-9398-35F50EB577F5}" type="parTrans" cxnId="{9046AFC2-C4F8-424B-A47F-EB623186F34D}">
      <dgm:prSet/>
      <dgm:spPr/>
      <dgm:t>
        <a:bodyPr/>
        <a:lstStyle/>
        <a:p>
          <a:endParaRPr lang="en-US"/>
        </a:p>
      </dgm:t>
    </dgm:pt>
    <dgm:pt modelId="{EB50611F-E67C-4015-ACC9-2331529F2674}" type="sibTrans" cxnId="{9046AFC2-C4F8-424B-A47F-EB623186F34D}">
      <dgm:prSet/>
      <dgm:spPr/>
      <dgm:t>
        <a:bodyPr/>
        <a:lstStyle/>
        <a:p>
          <a:endParaRPr lang="en-US"/>
        </a:p>
      </dgm:t>
    </dgm:pt>
    <dgm:pt modelId="{7C3A358B-078B-4195-9B26-1EFFC3616A6D}">
      <dgm:prSet phldrT="[Text]" custT="1"/>
      <dgm:spPr/>
      <dgm:t>
        <a:bodyPr/>
        <a:lstStyle/>
        <a:p>
          <a:r>
            <a:rPr lang="en-US" sz="1600"/>
            <a:t> Article 25</a:t>
          </a:r>
        </a:p>
      </dgm:t>
    </dgm:pt>
    <dgm:pt modelId="{4213FC18-2E20-4EBF-BEA4-7EC2D427DA99}" type="parTrans" cxnId="{D8BF9CDE-CD00-4CDD-92B8-7AFB4AD182F9}">
      <dgm:prSet/>
      <dgm:spPr/>
      <dgm:t>
        <a:bodyPr/>
        <a:lstStyle/>
        <a:p>
          <a:endParaRPr lang="en-US"/>
        </a:p>
      </dgm:t>
    </dgm:pt>
    <dgm:pt modelId="{591790F2-2A86-4419-84E7-B8785C1B906E}" type="sibTrans" cxnId="{D8BF9CDE-CD00-4CDD-92B8-7AFB4AD182F9}">
      <dgm:prSet/>
      <dgm:spPr/>
      <dgm:t>
        <a:bodyPr/>
        <a:lstStyle/>
        <a:p>
          <a:endParaRPr lang="en-US"/>
        </a:p>
      </dgm:t>
    </dgm:pt>
    <dgm:pt modelId="{CF6451A3-02FF-409F-ADDE-F9966EB6B83F}">
      <dgm:prSet phldrT="[Text]" custT="1"/>
      <dgm:spPr/>
      <dgm:t>
        <a:bodyPr/>
        <a:lstStyle/>
        <a:p>
          <a:r>
            <a:rPr lang="en-US" sz="1600" b="1"/>
            <a:t>Consent</a:t>
          </a:r>
        </a:p>
      </dgm:t>
    </dgm:pt>
    <dgm:pt modelId="{E1F1D128-FFD3-42AE-936D-B2E5FED1A10B}" type="parTrans" cxnId="{06B32920-BF06-4566-9D89-927D187BB9F4}">
      <dgm:prSet/>
      <dgm:spPr/>
      <dgm:t>
        <a:bodyPr/>
        <a:lstStyle/>
        <a:p>
          <a:endParaRPr lang="en-US"/>
        </a:p>
      </dgm:t>
    </dgm:pt>
    <dgm:pt modelId="{FB445B9D-F2F2-4F15-AA51-B9C92CF477C1}" type="sibTrans" cxnId="{06B32920-BF06-4566-9D89-927D187BB9F4}">
      <dgm:prSet/>
      <dgm:spPr/>
      <dgm:t>
        <a:bodyPr/>
        <a:lstStyle/>
        <a:p>
          <a:endParaRPr lang="en-US"/>
        </a:p>
      </dgm:t>
    </dgm:pt>
    <dgm:pt modelId="{1D1DF0C9-87D3-467C-9757-4C9DA4EA735C}">
      <dgm:prSet phldrT="[Text]" custT="1"/>
      <dgm:spPr/>
      <dgm:t>
        <a:bodyPr/>
        <a:lstStyle/>
        <a:p>
          <a:r>
            <a:rPr lang="en-US" sz="1600"/>
            <a:t>Article 5, 6, 10, 14, 17, 26, 27</a:t>
          </a:r>
        </a:p>
      </dgm:t>
    </dgm:pt>
    <dgm:pt modelId="{B3FDC365-FEDF-4F77-9410-3D3214617DA2}" type="parTrans" cxnId="{6D22F18E-A427-4FA7-92C4-974DF1B094B0}">
      <dgm:prSet/>
      <dgm:spPr/>
      <dgm:t>
        <a:bodyPr/>
        <a:lstStyle/>
        <a:p>
          <a:endParaRPr lang="en-US"/>
        </a:p>
      </dgm:t>
    </dgm:pt>
    <dgm:pt modelId="{6D17B3CC-D8E0-4B30-B800-CBF0E52BAD70}" type="sibTrans" cxnId="{6D22F18E-A427-4FA7-92C4-974DF1B094B0}">
      <dgm:prSet/>
      <dgm:spPr/>
      <dgm:t>
        <a:bodyPr/>
        <a:lstStyle/>
        <a:p>
          <a:endParaRPr lang="en-US"/>
        </a:p>
      </dgm:t>
    </dgm:pt>
    <dgm:pt modelId="{F805301A-27C6-4C1A-95D9-AAE30EB1601B}">
      <dgm:prSet phldrT="[Text]" custT="1"/>
      <dgm:spPr/>
      <dgm:t>
        <a:bodyPr/>
        <a:lstStyle/>
        <a:p>
          <a:r>
            <a:rPr lang="en-US" sz="1600" b="1"/>
            <a:t>Transfer of personal data outside the Kingdom </a:t>
          </a:r>
        </a:p>
      </dgm:t>
    </dgm:pt>
    <dgm:pt modelId="{694363DB-EE61-470F-AAA6-9091E57B336F}" type="parTrans" cxnId="{ED956E6B-E1AC-4AF2-8542-0AA68F77E7C2}">
      <dgm:prSet/>
      <dgm:spPr/>
      <dgm:t>
        <a:bodyPr/>
        <a:lstStyle/>
        <a:p>
          <a:endParaRPr lang="en-US"/>
        </a:p>
      </dgm:t>
    </dgm:pt>
    <dgm:pt modelId="{71A7307E-BAD9-4878-A562-67515294AB2A}" type="sibTrans" cxnId="{ED956E6B-E1AC-4AF2-8542-0AA68F77E7C2}">
      <dgm:prSet/>
      <dgm:spPr/>
      <dgm:t>
        <a:bodyPr/>
        <a:lstStyle/>
        <a:p>
          <a:endParaRPr lang="en-US"/>
        </a:p>
      </dgm:t>
    </dgm:pt>
    <dgm:pt modelId="{EA2ABE3D-9802-49BF-848B-E25F28F47685}">
      <dgm:prSet phldrT="[Text]" custT="1"/>
      <dgm:spPr/>
      <dgm:t>
        <a:bodyPr/>
        <a:lstStyle/>
        <a:p>
          <a:r>
            <a:rPr lang="en-US" sz="1600"/>
            <a:t>Article 29</a:t>
          </a:r>
        </a:p>
      </dgm:t>
    </dgm:pt>
    <dgm:pt modelId="{3EF73E97-F7E0-475A-9145-9BBB60B08045}" type="parTrans" cxnId="{B2416A33-FF0E-4F42-AAAD-64F1E9D6A3DF}">
      <dgm:prSet/>
      <dgm:spPr/>
      <dgm:t>
        <a:bodyPr/>
        <a:lstStyle/>
        <a:p>
          <a:endParaRPr lang="en-US"/>
        </a:p>
      </dgm:t>
    </dgm:pt>
    <dgm:pt modelId="{1EAF8258-51E5-43E5-B13D-792EB08128FA}" type="sibTrans" cxnId="{B2416A33-FF0E-4F42-AAAD-64F1E9D6A3DF}">
      <dgm:prSet/>
      <dgm:spPr/>
      <dgm:t>
        <a:bodyPr/>
        <a:lstStyle/>
        <a:p>
          <a:endParaRPr lang="en-US"/>
        </a:p>
      </dgm:t>
    </dgm:pt>
    <dgm:pt modelId="{56422754-7522-440E-88FE-3CE8C6A32545}">
      <dgm:prSet phldrT="[Text]" custT="1"/>
      <dgm:spPr/>
      <dgm:t>
        <a:bodyPr/>
        <a:lstStyle/>
        <a:p>
          <a:r>
            <a:rPr lang="en-US" sz="1600" b="1"/>
            <a:t>Compliance</a:t>
          </a:r>
        </a:p>
      </dgm:t>
    </dgm:pt>
    <dgm:pt modelId="{4525B8ED-9D9A-462C-BAA7-0CB4288B3F68}" type="parTrans" cxnId="{CA7BAE74-D33B-455D-A415-ED5D49F40412}">
      <dgm:prSet/>
      <dgm:spPr/>
      <dgm:t>
        <a:bodyPr/>
        <a:lstStyle/>
        <a:p>
          <a:endParaRPr lang="en-US"/>
        </a:p>
      </dgm:t>
    </dgm:pt>
    <dgm:pt modelId="{CE49BDE1-DD7E-4804-ABC2-02A26957AD59}" type="sibTrans" cxnId="{CA7BAE74-D33B-455D-A415-ED5D49F40412}">
      <dgm:prSet/>
      <dgm:spPr/>
      <dgm:t>
        <a:bodyPr/>
        <a:lstStyle/>
        <a:p>
          <a:endParaRPr lang="en-US"/>
        </a:p>
      </dgm:t>
    </dgm:pt>
    <dgm:pt modelId="{88A7E9F4-D25F-4D1A-9145-07528B5C34FC}">
      <dgm:prSet phldrT="[Text]" custT="1"/>
      <dgm:spPr/>
      <dgm:t>
        <a:bodyPr/>
        <a:lstStyle/>
        <a:p>
          <a:r>
            <a:rPr lang="en-US" sz="1600"/>
            <a:t>Article 30, 33</a:t>
          </a:r>
        </a:p>
      </dgm:t>
    </dgm:pt>
    <dgm:pt modelId="{1FA331C1-2278-42EF-9D4E-FE25F5C3255D}" type="parTrans" cxnId="{83A91A3C-AA74-4296-AA5F-33D7472521F4}">
      <dgm:prSet/>
      <dgm:spPr/>
      <dgm:t>
        <a:bodyPr/>
        <a:lstStyle/>
        <a:p>
          <a:endParaRPr lang="en-US"/>
        </a:p>
      </dgm:t>
    </dgm:pt>
    <dgm:pt modelId="{D80D828F-67F4-49BB-8A75-DB5FDE8C52A0}" type="sibTrans" cxnId="{83A91A3C-AA74-4296-AA5F-33D7472521F4}">
      <dgm:prSet/>
      <dgm:spPr/>
      <dgm:t>
        <a:bodyPr/>
        <a:lstStyle/>
        <a:p>
          <a:endParaRPr lang="en-US"/>
        </a:p>
      </dgm:t>
    </dgm:pt>
    <dgm:pt modelId="{55B6CBCA-E4E4-4140-940C-C3B31E9603EB}">
      <dgm:prSet phldrT="[Text]" custT="1"/>
      <dgm:spPr/>
      <dgm:t>
        <a:bodyPr/>
        <a:lstStyle/>
        <a:p>
          <a:r>
            <a:rPr lang="en-US" sz="1600"/>
            <a:t>Article 35, 36, 37, 38</a:t>
          </a:r>
        </a:p>
      </dgm:t>
    </dgm:pt>
    <dgm:pt modelId="{527E3B78-C1B3-4640-A01A-CDBE03C44B41}" type="parTrans" cxnId="{084537D2-29B2-4AC8-9DAB-686E09A876E8}">
      <dgm:prSet/>
      <dgm:spPr/>
      <dgm:t>
        <a:bodyPr/>
        <a:lstStyle/>
        <a:p>
          <a:endParaRPr lang="en-US"/>
        </a:p>
      </dgm:t>
    </dgm:pt>
    <dgm:pt modelId="{6F66B710-1933-47FE-81C3-A588F60EFA30}" type="sibTrans" cxnId="{084537D2-29B2-4AC8-9DAB-686E09A876E8}">
      <dgm:prSet/>
      <dgm:spPr/>
      <dgm:t>
        <a:bodyPr/>
        <a:lstStyle/>
        <a:p>
          <a:endParaRPr lang="en-US"/>
        </a:p>
      </dgm:t>
    </dgm:pt>
    <dgm:pt modelId="{42A684C5-6EAF-46FD-BFD6-93F5B029C553}">
      <dgm:prSet phldrT="[Text]" custT="1"/>
      <dgm:spPr/>
      <dgm:t>
        <a:bodyPr/>
        <a:lstStyle/>
        <a:p>
          <a:r>
            <a:rPr lang="en-US" sz="1600" b="1"/>
            <a:t>Data Protection Officer</a:t>
          </a:r>
        </a:p>
      </dgm:t>
    </dgm:pt>
    <dgm:pt modelId="{ABBACD2C-4111-43B9-A60B-99833A3F2D2D}" type="parTrans" cxnId="{1BBFE81E-970D-4729-BB35-733F95C42824}">
      <dgm:prSet/>
      <dgm:spPr/>
      <dgm:t>
        <a:bodyPr/>
        <a:lstStyle/>
        <a:p>
          <a:endParaRPr lang="en-US"/>
        </a:p>
      </dgm:t>
    </dgm:pt>
    <dgm:pt modelId="{3826F824-C1B1-4BCB-92C9-3A5A7D22D71A}" type="sibTrans" cxnId="{1BBFE81E-970D-4729-BB35-733F95C42824}">
      <dgm:prSet/>
      <dgm:spPr/>
      <dgm:t>
        <a:bodyPr/>
        <a:lstStyle/>
        <a:p>
          <a:endParaRPr lang="en-US"/>
        </a:p>
      </dgm:t>
    </dgm:pt>
    <dgm:pt modelId="{F71099F0-6100-4018-9449-C44F3464F736}">
      <dgm:prSet phldrT="[Text]" custT="1"/>
      <dgm:spPr/>
      <dgm:t>
        <a:bodyPr/>
        <a:lstStyle/>
        <a:p>
          <a:r>
            <a:rPr lang="en-US" sz="1600"/>
            <a:t>Article 30(2)</a:t>
          </a:r>
        </a:p>
      </dgm:t>
    </dgm:pt>
    <dgm:pt modelId="{36D92EB0-B6A0-4101-8E0E-115A3ACB2749}" type="parTrans" cxnId="{D43ABE72-2E48-4F2C-8189-F274D3DEA21E}">
      <dgm:prSet/>
      <dgm:spPr/>
      <dgm:t>
        <a:bodyPr/>
        <a:lstStyle/>
        <a:p>
          <a:endParaRPr lang="en-US"/>
        </a:p>
      </dgm:t>
    </dgm:pt>
    <dgm:pt modelId="{D4DB8FE5-8556-4A28-B6A6-B17163C1B662}" type="sibTrans" cxnId="{D43ABE72-2E48-4F2C-8189-F274D3DEA21E}">
      <dgm:prSet/>
      <dgm:spPr/>
      <dgm:t>
        <a:bodyPr/>
        <a:lstStyle/>
        <a:p>
          <a:endParaRPr lang="en-US"/>
        </a:p>
      </dgm:t>
    </dgm:pt>
    <dgm:pt modelId="{FA2A2BDE-879A-47EC-8BB2-2447DB26B811}">
      <dgm:prSet phldrT="[Text]" custT="1"/>
      <dgm:spPr/>
      <dgm:t>
        <a:bodyPr/>
        <a:lstStyle/>
        <a:p>
          <a:r>
            <a:rPr lang="en-US" sz="1600" b="1"/>
            <a:t>Record of Processing Activities (RoPA)</a:t>
          </a:r>
        </a:p>
      </dgm:t>
    </dgm:pt>
    <dgm:pt modelId="{9F90C433-866D-460F-B98D-5673C663D326}" type="parTrans" cxnId="{E2869A15-D0D4-469F-88B0-B14F32643ABE}">
      <dgm:prSet/>
      <dgm:spPr/>
      <dgm:t>
        <a:bodyPr/>
        <a:lstStyle/>
        <a:p>
          <a:endParaRPr lang="en-US"/>
        </a:p>
      </dgm:t>
    </dgm:pt>
    <dgm:pt modelId="{B5AC1A06-80D7-4736-8CC7-49686D43A5E9}" type="sibTrans" cxnId="{E2869A15-D0D4-469F-88B0-B14F32643ABE}">
      <dgm:prSet/>
      <dgm:spPr/>
      <dgm:t>
        <a:bodyPr/>
        <a:lstStyle/>
        <a:p>
          <a:endParaRPr lang="en-US"/>
        </a:p>
      </dgm:t>
    </dgm:pt>
    <dgm:pt modelId="{D0CB1A80-1C19-430E-9EFD-FE15163F1B22}">
      <dgm:prSet phldrT="[Text]" custT="1"/>
      <dgm:spPr/>
      <dgm:t>
        <a:bodyPr/>
        <a:lstStyle/>
        <a:p>
          <a:r>
            <a:rPr lang="en-US" sz="1600"/>
            <a:t>Article 31</a:t>
          </a:r>
        </a:p>
      </dgm:t>
    </dgm:pt>
    <dgm:pt modelId="{D4FCCD40-B76A-403D-9BD7-72B897BABD89}" type="parTrans" cxnId="{2CF2E7F0-BCED-4873-920E-312BCBD3760E}">
      <dgm:prSet/>
      <dgm:spPr/>
      <dgm:t>
        <a:bodyPr/>
        <a:lstStyle/>
        <a:p>
          <a:endParaRPr lang="en-US"/>
        </a:p>
      </dgm:t>
    </dgm:pt>
    <dgm:pt modelId="{5E43E766-AEBC-4F7B-BED6-0DEDC6A2147E}" type="sibTrans" cxnId="{2CF2E7F0-BCED-4873-920E-312BCBD3760E}">
      <dgm:prSet/>
      <dgm:spPr/>
      <dgm:t>
        <a:bodyPr/>
        <a:lstStyle/>
        <a:p>
          <a:endParaRPr lang="en-US"/>
        </a:p>
      </dgm:t>
    </dgm:pt>
    <dgm:pt modelId="{FF9F2BAE-601C-4C83-B298-9B57C40DB025}">
      <dgm:prSet phldrT="[Text]" custT="1"/>
      <dgm:spPr/>
      <dgm:t>
        <a:bodyPr/>
        <a:lstStyle/>
        <a:p>
          <a:r>
            <a:rPr lang="en-US" sz="1600" b="1"/>
            <a:t>Employee Disciplinary Process  </a:t>
          </a:r>
        </a:p>
      </dgm:t>
    </dgm:pt>
    <dgm:pt modelId="{4337D55E-B5AA-4497-B546-9224ECCCB64E}" type="parTrans" cxnId="{5B0B0492-1E81-4A78-BC00-10F86A65A12C}">
      <dgm:prSet/>
      <dgm:spPr/>
      <dgm:t>
        <a:bodyPr/>
        <a:lstStyle/>
        <a:p>
          <a:endParaRPr lang="en-US"/>
        </a:p>
      </dgm:t>
    </dgm:pt>
    <dgm:pt modelId="{C05A3979-4A64-4600-8080-4701E8D86635}" type="sibTrans" cxnId="{5B0B0492-1E81-4A78-BC00-10F86A65A12C}">
      <dgm:prSet/>
      <dgm:spPr/>
      <dgm:t>
        <a:bodyPr/>
        <a:lstStyle/>
        <a:p>
          <a:endParaRPr lang="en-US"/>
        </a:p>
      </dgm:t>
    </dgm:pt>
    <dgm:pt modelId="{BDD023E6-45E3-47A1-966A-F8C2D3054E64}">
      <dgm:prSet phldrT="[Text]" custT="1"/>
      <dgm:spPr/>
      <dgm:t>
        <a:bodyPr/>
        <a:lstStyle/>
        <a:p>
          <a:r>
            <a:rPr lang="en-US" sz="1600"/>
            <a:t>Article 39</a:t>
          </a:r>
        </a:p>
      </dgm:t>
    </dgm:pt>
    <dgm:pt modelId="{B8277557-A38B-478C-B630-D622D82E2DA2}" type="parTrans" cxnId="{2E2E013E-8E22-44C3-902B-D0BCEFC5599E}">
      <dgm:prSet/>
      <dgm:spPr/>
      <dgm:t>
        <a:bodyPr/>
        <a:lstStyle/>
        <a:p>
          <a:endParaRPr lang="en-US"/>
        </a:p>
      </dgm:t>
    </dgm:pt>
    <dgm:pt modelId="{A29B667E-DC50-47B4-AB88-A4D934011827}" type="sibTrans" cxnId="{2E2E013E-8E22-44C3-902B-D0BCEFC5599E}">
      <dgm:prSet/>
      <dgm:spPr/>
      <dgm:t>
        <a:bodyPr/>
        <a:lstStyle/>
        <a:p>
          <a:endParaRPr lang="en-US"/>
        </a:p>
      </dgm:t>
    </dgm:pt>
    <dgm:pt modelId="{0932B15F-8B9C-4544-8DC2-F2749ED00A5C}">
      <dgm:prSet phldrT="[Text]" custT="1"/>
      <dgm:spPr/>
      <dgm:t>
        <a:bodyPr/>
        <a:lstStyle/>
        <a:p>
          <a:r>
            <a:rPr lang="en-US" sz="1600" b="1"/>
            <a:t>Penalties and Violations to the Law</a:t>
          </a:r>
        </a:p>
      </dgm:t>
    </dgm:pt>
    <dgm:pt modelId="{2C409E9F-0F6E-4134-90C1-BEFE11D9EB0B}" type="parTrans" cxnId="{09DEF672-D90A-47CA-9BA9-AEB385FE889D}">
      <dgm:prSet/>
      <dgm:spPr/>
      <dgm:t>
        <a:bodyPr/>
        <a:lstStyle/>
        <a:p>
          <a:endParaRPr lang="en-US"/>
        </a:p>
      </dgm:t>
    </dgm:pt>
    <dgm:pt modelId="{17215D86-5F3D-4DE3-A34C-A77C6660EB3B}" type="sibTrans" cxnId="{09DEF672-D90A-47CA-9BA9-AEB385FE889D}">
      <dgm:prSet/>
      <dgm:spPr/>
      <dgm:t>
        <a:bodyPr/>
        <a:lstStyle/>
        <a:p>
          <a:endParaRPr lang="en-US"/>
        </a:p>
      </dgm:t>
    </dgm:pt>
    <dgm:pt modelId="{2BC1E461-5417-4E9F-85BB-4594DBEF5D35}" type="pres">
      <dgm:prSet presAssocID="{CA82F513-1CAF-4586-AF4C-B16D8557977D}" presName="linear" presStyleCnt="0">
        <dgm:presLayoutVars>
          <dgm:animLvl val="lvl"/>
          <dgm:resizeHandles val="exact"/>
        </dgm:presLayoutVars>
      </dgm:prSet>
      <dgm:spPr/>
    </dgm:pt>
    <dgm:pt modelId="{0976AF54-611B-4529-A8B5-F2BC127022E0}" type="pres">
      <dgm:prSet presAssocID="{E1D3D13B-5D9F-400E-9A40-025A09A6C3EE}" presName="parentText" presStyleLbl="node1" presStyleIdx="0" presStyleCnt="8">
        <dgm:presLayoutVars>
          <dgm:chMax val="0"/>
          <dgm:bulletEnabled val="1"/>
        </dgm:presLayoutVars>
      </dgm:prSet>
      <dgm:spPr/>
    </dgm:pt>
    <dgm:pt modelId="{46A9AC13-1C95-4AA3-8A24-EF52D23D754C}" type="pres">
      <dgm:prSet presAssocID="{E1D3D13B-5D9F-400E-9A40-025A09A6C3EE}" presName="childText" presStyleLbl="revTx" presStyleIdx="0" presStyleCnt="8">
        <dgm:presLayoutVars>
          <dgm:bulletEnabled val="1"/>
        </dgm:presLayoutVars>
      </dgm:prSet>
      <dgm:spPr/>
    </dgm:pt>
    <dgm:pt modelId="{81F35B60-7D12-44DF-B41C-BE232A445E33}" type="pres">
      <dgm:prSet presAssocID="{CF6451A3-02FF-409F-ADDE-F9966EB6B83F}" presName="parentText" presStyleLbl="node1" presStyleIdx="1" presStyleCnt="8">
        <dgm:presLayoutVars>
          <dgm:chMax val="0"/>
          <dgm:bulletEnabled val="1"/>
        </dgm:presLayoutVars>
      </dgm:prSet>
      <dgm:spPr/>
    </dgm:pt>
    <dgm:pt modelId="{930585F5-9D73-4022-9449-6BA3EF658735}" type="pres">
      <dgm:prSet presAssocID="{CF6451A3-02FF-409F-ADDE-F9966EB6B83F}" presName="childText" presStyleLbl="revTx" presStyleIdx="1" presStyleCnt="8">
        <dgm:presLayoutVars>
          <dgm:bulletEnabled val="1"/>
        </dgm:presLayoutVars>
      </dgm:prSet>
      <dgm:spPr/>
    </dgm:pt>
    <dgm:pt modelId="{6F8C8A9C-4847-45AF-AD33-CBC2DA9AE4F2}" type="pres">
      <dgm:prSet presAssocID="{F805301A-27C6-4C1A-95D9-AAE30EB1601B}" presName="parentText" presStyleLbl="node1" presStyleIdx="2" presStyleCnt="8">
        <dgm:presLayoutVars>
          <dgm:chMax val="0"/>
          <dgm:bulletEnabled val="1"/>
        </dgm:presLayoutVars>
      </dgm:prSet>
      <dgm:spPr/>
    </dgm:pt>
    <dgm:pt modelId="{0584C990-0725-490A-95CC-A0B5CD542249}" type="pres">
      <dgm:prSet presAssocID="{F805301A-27C6-4C1A-95D9-AAE30EB1601B}" presName="childText" presStyleLbl="revTx" presStyleIdx="2" presStyleCnt="8">
        <dgm:presLayoutVars>
          <dgm:bulletEnabled val="1"/>
        </dgm:presLayoutVars>
      </dgm:prSet>
      <dgm:spPr/>
    </dgm:pt>
    <dgm:pt modelId="{B96B3808-EFB7-449B-81CD-F5B427175689}" type="pres">
      <dgm:prSet presAssocID="{56422754-7522-440E-88FE-3CE8C6A32545}" presName="parentText" presStyleLbl="node1" presStyleIdx="3" presStyleCnt="8">
        <dgm:presLayoutVars>
          <dgm:chMax val="0"/>
          <dgm:bulletEnabled val="1"/>
        </dgm:presLayoutVars>
      </dgm:prSet>
      <dgm:spPr/>
    </dgm:pt>
    <dgm:pt modelId="{D34F1DE8-0B0D-4DB1-A3FB-DF29EE8E5867}" type="pres">
      <dgm:prSet presAssocID="{56422754-7522-440E-88FE-3CE8C6A32545}" presName="childText" presStyleLbl="revTx" presStyleIdx="3" presStyleCnt="8">
        <dgm:presLayoutVars>
          <dgm:bulletEnabled val="1"/>
        </dgm:presLayoutVars>
      </dgm:prSet>
      <dgm:spPr/>
    </dgm:pt>
    <dgm:pt modelId="{F0B3BD30-CF76-4CFD-BE0E-3F534D9EB2BD}" type="pres">
      <dgm:prSet presAssocID="{42A684C5-6EAF-46FD-BFD6-93F5B029C553}" presName="parentText" presStyleLbl="node1" presStyleIdx="4" presStyleCnt="8">
        <dgm:presLayoutVars>
          <dgm:chMax val="0"/>
          <dgm:bulletEnabled val="1"/>
        </dgm:presLayoutVars>
      </dgm:prSet>
      <dgm:spPr/>
    </dgm:pt>
    <dgm:pt modelId="{EC2E72D9-5CEE-40C9-B490-D70A8A72127A}" type="pres">
      <dgm:prSet presAssocID="{42A684C5-6EAF-46FD-BFD6-93F5B029C553}" presName="childText" presStyleLbl="revTx" presStyleIdx="4" presStyleCnt="8">
        <dgm:presLayoutVars>
          <dgm:bulletEnabled val="1"/>
        </dgm:presLayoutVars>
      </dgm:prSet>
      <dgm:spPr/>
    </dgm:pt>
    <dgm:pt modelId="{05E7826D-5E82-40B8-B8EE-15D996C26F67}" type="pres">
      <dgm:prSet presAssocID="{FA2A2BDE-879A-47EC-8BB2-2447DB26B811}" presName="parentText" presStyleLbl="node1" presStyleIdx="5" presStyleCnt="8">
        <dgm:presLayoutVars>
          <dgm:chMax val="0"/>
          <dgm:bulletEnabled val="1"/>
        </dgm:presLayoutVars>
      </dgm:prSet>
      <dgm:spPr/>
    </dgm:pt>
    <dgm:pt modelId="{7579C9D1-AE4F-4DC8-B914-6FDF06682270}" type="pres">
      <dgm:prSet presAssocID="{FA2A2BDE-879A-47EC-8BB2-2447DB26B811}" presName="childText" presStyleLbl="revTx" presStyleIdx="5" presStyleCnt="8">
        <dgm:presLayoutVars>
          <dgm:bulletEnabled val="1"/>
        </dgm:presLayoutVars>
      </dgm:prSet>
      <dgm:spPr/>
    </dgm:pt>
    <dgm:pt modelId="{C4C40E9E-F000-4AD3-B230-038938F557E7}" type="pres">
      <dgm:prSet presAssocID="{FF9F2BAE-601C-4C83-B298-9B57C40DB025}" presName="parentText" presStyleLbl="node1" presStyleIdx="6" presStyleCnt="8">
        <dgm:presLayoutVars>
          <dgm:chMax val="0"/>
          <dgm:bulletEnabled val="1"/>
        </dgm:presLayoutVars>
      </dgm:prSet>
      <dgm:spPr/>
    </dgm:pt>
    <dgm:pt modelId="{7724B1EA-B460-4FE5-A129-B019CED3C08E}" type="pres">
      <dgm:prSet presAssocID="{FF9F2BAE-601C-4C83-B298-9B57C40DB025}" presName="childText" presStyleLbl="revTx" presStyleIdx="6" presStyleCnt="8">
        <dgm:presLayoutVars>
          <dgm:bulletEnabled val="1"/>
        </dgm:presLayoutVars>
      </dgm:prSet>
      <dgm:spPr/>
    </dgm:pt>
    <dgm:pt modelId="{2D3C8777-3151-45A8-B3B5-5C383A91ED96}" type="pres">
      <dgm:prSet presAssocID="{0932B15F-8B9C-4544-8DC2-F2749ED00A5C}" presName="parentText" presStyleLbl="node1" presStyleIdx="7" presStyleCnt="8">
        <dgm:presLayoutVars>
          <dgm:chMax val="0"/>
          <dgm:bulletEnabled val="1"/>
        </dgm:presLayoutVars>
      </dgm:prSet>
      <dgm:spPr/>
    </dgm:pt>
    <dgm:pt modelId="{147861C4-541F-4BFB-ACE0-5F693C3FFB2A}" type="pres">
      <dgm:prSet presAssocID="{0932B15F-8B9C-4544-8DC2-F2749ED00A5C}" presName="childText" presStyleLbl="revTx" presStyleIdx="7" presStyleCnt="8">
        <dgm:presLayoutVars>
          <dgm:bulletEnabled val="1"/>
        </dgm:presLayoutVars>
      </dgm:prSet>
      <dgm:spPr/>
    </dgm:pt>
  </dgm:ptLst>
  <dgm:cxnLst>
    <dgm:cxn modelId="{E2869A15-D0D4-469F-88B0-B14F32643ABE}" srcId="{CA82F513-1CAF-4586-AF4C-B16D8557977D}" destId="{FA2A2BDE-879A-47EC-8BB2-2447DB26B811}" srcOrd="5" destOrd="0" parTransId="{9F90C433-866D-460F-B98D-5673C663D326}" sibTransId="{B5AC1A06-80D7-4736-8CC7-49686D43A5E9}"/>
    <dgm:cxn modelId="{1BBFE81E-970D-4729-BB35-733F95C42824}" srcId="{CA82F513-1CAF-4586-AF4C-B16D8557977D}" destId="{42A684C5-6EAF-46FD-BFD6-93F5B029C553}" srcOrd="4" destOrd="0" parTransId="{ABBACD2C-4111-43B9-A60B-99833A3F2D2D}" sibTransId="{3826F824-C1B1-4BCB-92C9-3A5A7D22D71A}"/>
    <dgm:cxn modelId="{62F0011F-CE08-43AA-9AE3-922C355F9AF3}" type="presOf" srcId="{56422754-7522-440E-88FE-3CE8C6A32545}" destId="{B96B3808-EFB7-449B-81CD-F5B427175689}" srcOrd="0" destOrd="0" presId="urn:microsoft.com/office/officeart/2005/8/layout/vList2"/>
    <dgm:cxn modelId="{06B32920-BF06-4566-9D89-927D187BB9F4}" srcId="{CA82F513-1CAF-4586-AF4C-B16D8557977D}" destId="{CF6451A3-02FF-409F-ADDE-F9966EB6B83F}" srcOrd="1" destOrd="0" parTransId="{E1F1D128-FFD3-42AE-936D-B2E5FED1A10B}" sibTransId="{FB445B9D-F2F2-4F15-AA51-B9C92CF477C1}"/>
    <dgm:cxn modelId="{7350D02A-EF07-4E59-ACA3-CF86C759A03B}" type="presOf" srcId="{EA2ABE3D-9802-49BF-848B-E25F28F47685}" destId="{0584C990-0725-490A-95CC-A0B5CD542249}" srcOrd="0" destOrd="0" presId="urn:microsoft.com/office/officeart/2005/8/layout/vList2"/>
    <dgm:cxn modelId="{B2416A33-FF0E-4F42-AAAD-64F1E9D6A3DF}" srcId="{F805301A-27C6-4C1A-95D9-AAE30EB1601B}" destId="{EA2ABE3D-9802-49BF-848B-E25F28F47685}" srcOrd="0" destOrd="0" parTransId="{3EF73E97-F7E0-475A-9145-9BBB60B08045}" sibTransId="{1EAF8258-51E5-43E5-B13D-792EB08128FA}"/>
    <dgm:cxn modelId="{EBD96D39-F0D5-4767-8236-85EABE70DECB}" type="presOf" srcId="{7C3A358B-078B-4195-9B26-1EFFC3616A6D}" destId="{46A9AC13-1C95-4AA3-8A24-EF52D23D754C}" srcOrd="0" destOrd="0" presId="urn:microsoft.com/office/officeart/2005/8/layout/vList2"/>
    <dgm:cxn modelId="{83A91A3C-AA74-4296-AA5F-33D7472521F4}" srcId="{56422754-7522-440E-88FE-3CE8C6A32545}" destId="{88A7E9F4-D25F-4D1A-9145-07528B5C34FC}" srcOrd="0" destOrd="0" parTransId="{1FA331C1-2278-42EF-9D4E-FE25F5C3255D}" sibTransId="{D80D828F-67F4-49BB-8A75-DB5FDE8C52A0}"/>
    <dgm:cxn modelId="{2E2E013E-8E22-44C3-902B-D0BCEFC5599E}" srcId="{FF9F2BAE-601C-4C83-B298-9B57C40DB025}" destId="{BDD023E6-45E3-47A1-966A-F8C2D3054E64}" srcOrd="0" destOrd="0" parTransId="{B8277557-A38B-478C-B630-D622D82E2DA2}" sibTransId="{A29B667E-DC50-47B4-AB88-A4D934011827}"/>
    <dgm:cxn modelId="{8CFDEF43-0E68-4380-A01B-8EB274B20CC1}" type="presOf" srcId="{BDD023E6-45E3-47A1-966A-F8C2D3054E64}" destId="{7724B1EA-B460-4FE5-A129-B019CED3C08E}" srcOrd="0" destOrd="0" presId="urn:microsoft.com/office/officeart/2005/8/layout/vList2"/>
    <dgm:cxn modelId="{8B769765-C1C2-49A8-94BC-35852A9A5D96}" type="presOf" srcId="{CF6451A3-02FF-409F-ADDE-F9966EB6B83F}" destId="{81F35B60-7D12-44DF-B41C-BE232A445E33}" srcOrd="0" destOrd="0" presId="urn:microsoft.com/office/officeart/2005/8/layout/vList2"/>
    <dgm:cxn modelId="{ED956E6B-E1AC-4AF2-8542-0AA68F77E7C2}" srcId="{CA82F513-1CAF-4586-AF4C-B16D8557977D}" destId="{F805301A-27C6-4C1A-95D9-AAE30EB1601B}" srcOrd="2" destOrd="0" parTransId="{694363DB-EE61-470F-AAA6-9091E57B336F}" sibTransId="{71A7307E-BAD9-4878-A562-67515294AB2A}"/>
    <dgm:cxn modelId="{D43ABE72-2E48-4F2C-8189-F274D3DEA21E}" srcId="{42A684C5-6EAF-46FD-BFD6-93F5B029C553}" destId="{F71099F0-6100-4018-9449-C44F3464F736}" srcOrd="0" destOrd="0" parTransId="{36D92EB0-B6A0-4101-8E0E-115A3ACB2749}" sibTransId="{D4DB8FE5-8556-4A28-B6A6-B17163C1B662}"/>
    <dgm:cxn modelId="{09DEF672-D90A-47CA-9BA9-AEB385FE889D}" srcId="{CA82F513-1CAF-4586-AF4C-B16D8557977D}" destId="{0932B15F-8B9C-4544-8DC2-F2749ED00A5C}" srcOrd="7" destOrd="0" parTransId="{2C409E9F-0F6E-4134-90C1-BEFE11D9EB0B}" sibTransId="{17215D86-5F3D-4DE3-A34C-A77C6660EB3B}"/>
    <dgm:cxn modelId="{878FF853-B797-449B-A795-EE417287AF0D}" type="presOf" srcId="{88A7E9F4-D25F-4D1A-9145-07528B5C34FC}" destId="{D34F1DE8-0B0D-4DB1-A3FB-DF29EE8E5867}" srcOrd="0" destOrd="0" presId="urn:microsoft.com/office/officeart/2005/8/layout/vList2"/>
    <dgm:cxn modelId="{CA7BAE74-D33B-455D-A415-ED5D49F40412}" srcId="{CA82F513-1CAF-4586-AF4C-B16D8557977D}" destId="{56422754-7522-440E-88FE-3CE8C6A32545}" srcOrd="3" destOrd="0" parTransId="{4525B8ED-9D9A-462C-BAA7-0CB4288B3F68}" sibTransId="{CE49BDE1-DD7E-4804-ABC2-02A26957AD59}"/>
    <dgm:cxn modelId="{0E58917B-C4F8-4C3E-9A20-4095C9DC751D}" type="presOf" srcId="{42A684C5-6EAF-46FD-BFD6-93F5B029C553}" destId="{F0B3BD30-CF76-4CFD-BE0E-3F534D9EB2BD}" srcOrd="0" destOrd="0" presId="urn:microsoft.com/office/officeart/2005/8/layout/vList2"/>
    <dgm:cxn modelId="{4EC3DE8E-661D-4A53-9051-2AA1D3BA69CB}" type="presOf" srcId="{FF9F2BAE-601C-4C83-B298-9B57C40DB025}" destId="{C4C40E9E-F000-4AD3-B230-038938F557E7}" srcOrd="0" destOrd="0" presId="urn:microsoft.com/office/officeart/2005/8/layout/vList2"/>
    <dgm:cxn modelId="{6D22F18E-A427-4FA7-92C4-974DF1B094B0}" srcId="{CF6451A3-02FF-409F-ADDE-F9966EB6B83F}" destId="{1D1DF0C9-87D3-467C-9757-4C9DA4EA735C}" srcOrd="0" destOrd="0" parTransId="{B3FDC365-FEDF-4F77-9410-3D3214617DA2}" sibTransId="{6D17B3CC-D8E0-4B30-B800-CBF0E52BAD70}"/>
    <dgm:cxn modelId="{5B0B0492-1E81-4A78-BC00-10F86A65A12C}" srcId="{CA82F513-1CAF-4586-AF4C-B16D8557977D}" destId="{FF9F2BAE-601C-4C83-B298-9B57C40DB025}" srcOrd="6" destOrd="0" parTransId="{4337D55E-B5AA-4497-B546-9224ECCCB64E}" sibTransId="{C05A3979-4A64-4600-8080-4701E8D86635}"/>
    <dgm:cxn modelId="{D28B3C96-185C-4262-8957-4A8998CA5DA6}" type="presOf" srcId="{E1D3D13B-5D9F-400E-9A40-025A09A6C3EE}" destId="{0976AF54-611B-4529-A8B5-F2BC127022E0}" srcOrd="0" destOrd="0" presId="urn:microsoft.com/office/officeart/2005/8/layout/vList2"/>
    <dgm:cxn modelId="{E1FBCA96-6D3A-406D-89FF-6614DEDBFE73}" type="presOf" srcId="{D0CB1A80-1C19-430E-9EFD-FE15163F1B22}" destId="{7579C9D1-AE4F-4DC8-B914-6FDF06682270}" srcOrd="0" destOrd="0" presId="urn:microsoft.com/office/officeart/2005/8/layout/vList2"/>
    <dgm:cxn modelId="{144E519A-6863-48A2-88CE-0487E44E5D63}" type="presOf" srcId="{F805301A-27C6-4C1A-95D9-AAE30EB1601B}" destId="{6F8C8A9C-4847-45AF-AD33-CBC2DA9AE4F2}" srcOrd="0" destOrd="0" presId="urn:microsoft.com/office/officeart/2005/8/layout/vList2"/>
    <dgm:cxn modelId="{914BE6C1-F242-4738-8BD5-9A8D6436162B}" type="presOf" srcId="{1D1DF0C9-87D3-467C-9757-4C9DA4EA735C}" destId="{930585F5-9D73-4022-9449-6BA3EF658735}" srcOrd="0" destOrd="0" presId="urn:microsoft.com/office/officeart/2005/8/layout/vList2"/>
    <dgm:cxn modelId="{9046AFC2-C4F8-424B-A47F-EB623186F34D}" srcId="{CA82F513-1CAF-4586-AF4C-B16D8557977D}" destId="{E1D3D13B-5D9F-400E-9A40-025A09A6C3EE}" srcOrd="0" destOrd="0" parTransId="{B0EE815D-AB3D-4D59-9398-35F50EB577F5}" sibTransId="{EB50611F-E67C-4015-ACC9-2331529F2674}"/>
    <dgm:cxn modelId="{172967CF-F790-4524-A8F6-944D2FD82853}" type="presOf" srcId="{0932B15F-8B9C-4544-8DC2-F2749ED00A5C}" destId="{2D3C8777-3151-45A8-B3B5-5C383A91ED96}" srcOrd="0" destOrd="0" presId="urn:microsoft.com/office/officeart/2005/8/layout/vList2"/>
    <dgm:cxn modelId="{9BA4E7D0-05A2-49E8-B5C5-CDE7DA0A38C8}" type="presOf" srcId="{CA82F513-1CAF-4586-AF4C-B16D8557977D}" destId="{2BC1E461-5417-4E9F-85BB-4594DBEF5D35}" srcOrd="0" destOrd="0" presId="urn:microsoft.com/office/officeart/2005/8/layout/vList2"/>
    <dgm:cxn modelId="{084537D2-29B2-4AC8-9DAB-686E09A876E8}" srcId="{0932B15F-8B9C-4544-8DC2-F2749ED00A5C}" destId="{55B6CBCA-E4E4-4140-940C-C3B31E9603EB}" srcOrd="0" destOrd="0" parTransId="{527E3B78-C1B3-4640-A01A-CDBE03C44B41}" sibTransId="{6F66B710-1933-47FE-81C3-A588F60EFA30}"/>
    <dgm:cxn modelId="{D8BF9CDE-CD00-4CDD-92B8-7AFB4AD182F9}" srcId="{E1D3D13B-5D9F-400E-9A40-025A09A6C3EE}" destId="{7C3A358B-078B-4195-9B26-1EFFC3616A6D}" srcOrd="0" destOrd="0" parTransId="{4213FC18-2E20-4EBF-BEA4-7EC2D427DA99}" sibTransId="{591790F2-2A86-4419-84E7-B8785C1B906E}"/>
    <dgm:cxn modelId="{9559D4EE-9AE9-47FB-9FBF-298D151F7745}" type="presOf" srcId="{FA2A2BDE-879A-47EC-8BB2-2447DB26B811}" destId="{05E7826D-5E82-40B8-B8EE-15D996C26F67}" srcOrd="0" destOrd="0" presId="urn:microsoft.com/office/officeart/2005/8/layout/vList2"/>
    <dgm:cxn modelId="{2CF2E7F0-BCED-4873-920E-312BCBD3760E}" srcId="{FA2A2BDE-879A-47EC-8BB2-2447DB26B811}" destId="{D0CB1A80-1C19-430E-9EFD-FE15163F1B22}" srcOrd="0" destOrd="0" parTransId="{D4FCCD40-B76A-403D-9BD7-72B897BABD89}" sibTransId="{5E43E766-AEBC-4F7B-BED6-0DEDC6A2147E}"/>
    <dgm:cxn modelId="{FB3EDDF1-A1BE-449E-A642-E2E753BD6D91}" type="presOf" srcId="{F71099F0-6100-4018-9449-C44F3464F736}" destId="{EC2E72D9-5CEE-40C9-B490-D70A8A72127A}" srcOrd="0" destOrd="0" presId="urn:microsoft.com/office/officeart/2005/8/layout/vList2"/>
    <dgm:cxn modelId="{C45509FB-C8D9-49B1-8E3F-65AE37F72959}" type="presOf" srcId="{55B6CBCA-E4E4-4140-940C-C3B31E9603EB}" destId="{147861C4-541F-4BFB-ACE0-5F693C3FFB2A}" srcOrd="0" destOrd="0" presId="urn:microsoft.com/office/officeart/2005/8/layout/vList2"/>
    <dgm:cxn modelId="{B157AABF-3F15-42E0-A681-C55BB6AB58FC}" type="presParOf" srcId="{2BC1E461-5417-4E9F-85BB-4594DBEF5D35}" destId="{0976AF54-611B-4529-A8B5-F2BC127022E0}" srcOrd="0" destOrd="0" presId="urn:microsoft.com/office/officeart/2005/8/layout/vList2"/>
    <dgm:cxn modelId="{075CEC93-8D29-4C0B-B254-F3D3CB9B8C5F}" type="presParOf" srcId="{2BC1E461-5417-4E9F-85BB-4594DBEF5D35}" destId="{46A9AC13-1C95-4AA3-8A24-EF52D23D754C}" srcOrd="1" destOrd="0" presId="urn:microsoft.com/office/officeart/2005/8/layout/vList2"/>
    <dgm:cxn modelId="{EC894710-C279-42E9-8F04-979B30B79DDB}" type="presParOf" srcId="{2BC1E461-5417-4E9F-85BB-4594DBEF5D35}" destId="{81F35B60-7D12-44DF-B41C-BE232A445E33}" srcOrd="2" destOrd="0" presId="urn:microsoft.com/office/officeart/2005/8/layout/vList2"/>
    <dgm:cxn modelId="{669E4D6E-B45F-44A2-842A-E81C779D629A}" type="presParOf" srcId="{2BC1E461-5417-4E9F-85BB-4594DBEF5D35}" destId="{930585F5-9D73-4022-9449-6BA3EF658735}" srcOrd="3" destOrd="0" presId="urn:microsoft.com/office/officeart/2005/8/layout/vList2"/>
    <dgm:cxn modelId="{B116A034-6EFD-4A91-A0B7-4B29CDDD5AA0}" type="presParOf" srcId="{2BC1E461-5417-4E9F-85BB-4594DBEF5D35}" destId="{6F8C8A9C-4847-45AF-AD33-CBC2DA9AE4F2}" srcOrd="4" destOrd="0" presId="urn:microsoft.com/office/officeart/2005/8/layout/vList2"/>
    <dgm:cxn modelId="{2509353E-5C43-4CB7-944F-F3A8C4F12FBC}" type="presParOf" srcId="{2BC1E461-5417-4E9F-85BB-4594DBEF5D35}" destId="{0584C990-0725-490A-95CC-A0B5CD542249}" srcOrd="5" destOrd="0" presId="urn:microsoft.com/office/officeart/2005/8/layout/vList2"/>
    <dgm:cxn modelId="{37875497-0F37-4F56-8D47-14111A411713}" type="presParOf" srcId="{2BC1E461-5417-4E9F-85BB-4594DBEF5D35}" destId="{B96B3808-EFB7-449B-81CD-F5B427175689}" srcOrd="6" destOrd="0" presId="urn:microsoft.com/office/officeart/2005/8/layout/vList2"/>
    <dgm:cxn modelId="{003BBF61-0F06-41D8-8E47-1B8F81C2E847}" type="presParOf" srcId="{2BC1E461-5417-4E9F-85BB-4594DBEF5D35}" destId="{D34F1DE8-0B0D-4DB1-A3FB-DF29EE8E5867}" srcOrd="7" destOrd="0" presId="urn:microsoft.com/office/officeart/2005/8/layout/vList2"/>
    <dgm:cxn modelId="{9C64ADC4-054B-4BCA-9D8B-0A6F79B3950C}" type="presParOf" srcId="{2BC1E461-5417-4E9F-85BB-4594DBEF5D35}" destId="{F0B3BD30-CF76-4CFD-BE0E-3F534D9EB2BD}" srcOrd="8" destOrd="0" presId="urn:microsoft.com/office/officeart/2005/8/layout/vList2"/>
    <dgm:cxn modelId="{DE365B22-4944-49A6-8AC9-F22DCC6A5075}" type="presParOf" srcId="{2BC1E461-5417-4E9F-85BB-4594DBEF5D35}" destId="{EC2E72D9-5CEE-40C9-B490-D70A8A72127A}" srcOrd="9" destOrd="0" presId="urn:microsoft.com/office/officeart/2005/8/layout/vList2"/>
    <dgm:cxn modelId="{9E185C79-1B83-4D6B-9A51-4D793096A7C6}" type="presParOf" srcId="{2BC1E461-5417-4E9F-85BB-4594DBEF5D35}" destId="{05E7826D-5E82-40B8-B8EE-15D996C26F67}" srcOrd="10" destOrd="0" presId="urn:microsoft.com/office/officeart/2005/8/layout/vList2"/>
    <dgm:cxn modelId="{666595CF-53DB-4B1B-9B46-F43FB557257D}" type="presParOf" srcId="{2BC1E461-5417-4E9F-85BB-4594DBEF5D35}" destId="{7579C9D1-AE4F-4DC8-B914-6FDF06682270}" srcOrd="11" destOrd="0" presId="urn:microsoft.com/office/officeart/2005/8/layout/vList2"/>
    <dgm:cxn modelId="{742E6C8C-BB94-4F7F-98E6-4FFD833E98E6}" type="presParOf" srcId="{2BC1E461-5417-4E9F-85BB-4594DBEF5D35}" destId="{C4C40E9E-F000-4AD3-B230-038938F557E7}" srcOrd="12" destOrd="0" presId="urn:microsoft.com/office/officeart/2005/8/layout/vList2"/>
    <dgm:cxn modelId="{99849493-8792-4A06-A872-6549BD276F78}" type="presParOf" srcId="{2BC1E461-5417-4E9F-85BB-4594DBEF5D35}" destId="{7724B1EA-B460-4FE5-A129-B019CED3C08E}" srcOrd="13" destOrd="0" presId="urn:microsoft.com/office/officeart/2005/8/layout/vList2"/>
    <dgm:cxn modelId="{742D26B5-1928-4CB3-995D-D7DB80AC97F6}" type="presParOf" srcId="{2BC1E461-5417-4E9F-85BB-4594DBEF5D35}" destId="{2D3C8777-3151-45A8-B3B5-5C383A91ED96}" srcOrd="14" destOrd="0" presId="urn:microsoft.com/office/officeart/2005/8/layout/vList2"/>
    <dgm:cxn modelId="{ABBAF52D-5606-460D-ABA4-E86598FB4E34}" type="presParOf" srcId="{2BC1E461-5417-4E9F-85BB-4594DBEF5D35}" destId="{147861C4-541F-4BFB-ACE0-5F693C3FFB2A}" srcOrd="1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3DE05DC-3686-4C6A-853D-BB1944122ED6}"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B05422D6-C0A9-4FB8-8E41-3D8C835822B4}">
      <dgm:prSet phldrT="[Text]" custT="1"/>
      <dgm:spPr>
        <a:solidFill>
          <a:schemeClr val="accent3">
            <a:lumMod val="40000"/>
            <a:lumOff val="60000"/>
          </a:schemeClr>
        </a:solidFill>
      </dgm:spPr>
      <dgm:t>
        <a:bodyPr/>
        <a:lstStyle/>
        <a:p>
          <a:r>
            <a:rPr lang="en-US" sz="1600" b="1">
              <a:solidFill>
                <a:schemeClr val="tx1"/>
              </a:solidFill>
            </a:rPr>
            <a:t>Compliance Monitoring Procedure</a:t>
          </a:r>
        </a:p>
      </dgm:t>
    </dgm:pt>
    <dgm:pt modelId="{110DB02C-9EF7-486F-9868-EC28E3990C35}" type="parTrans" cxnId="{819F8348-E9BC-4B7E-B440-A18CB9426CF0}">
      <dgm:prSet/>
      <dgm:spPr/>
      <dgm:t>
        <a:bodyPr/>
        <a:lstStyle/>
        <a:p>
          <a:endParaRPr lang="en-US" sz="1600"/>
        </a:p>
      </dgm:t>
    </dgm:pt>
    <dgm:pt modelId="{22892689-33DD-4D59-870D-720C9F825411}" type="sibTrans" cxnId="{819F8348-E9BC-4B7E-B440-A18CB9426CF0}">
      <dgm:prSet/>
      <dgm:spPr/>
      <dgm:t>
        <a:bodyPr/>
        <a:lstStyle/>
        <a:p>
          <a:endParaRPr lang="en-US" sz="1600"/>
        </a:p>
      </dgm:t>
    </dgm:pt>
    <dgm:pt modelId="{27F7CFC6-94CD-4A8D-AC50-2FB6BCEDF157}">
      <dgm:prSet phldrT="[Text]" custT="1"/>
      <dgm:spPr/>
      <dgm:t>
        <a:bodyPr/>
        <a:lstStyle/>
        <a:p>
          <a:r>
            <a:rPr lang="en-US" sz="1600"/>
            <a:t>Ensures continuous oversight and assessment of PDPL compliance.</a:t>
          </a:r>
        </a:p>
      </dgm:t>
    </dgm:pt>
    <dgm:pt modelId="{2C8A963E-91E3-49B3-BA3C-B44D6B50926A}" type="parTrans" cxnId="{6846D9FB-19FF-45E5-AF4B-32F6C1AB303E}">
      <dgm:prSet/>
      <dgm:spPr/>
      <dgm:t>
        <a:bodyPr/>
        <a:lstStyle/>
        <a:p>
          <a:endParaRPr lang="en-US" sz="1600"/>
        </a:p>
      </dgm:t>
    </dgm:pt>
    <dgm:pt modelId="{6E54062D-9CB2-4BFA-9B04-637768637C0D}" type="sibTrans" cxnId="{6846D9FB-19FF-45E5-AF4B-32F6C1AB303E}">
      <dgm:prSet/>
      <dgm:spPr/>
      <dgm:t>
        <a:bodyPr/>
        <a:lstStyle/>
        <a:p>
          <a:endParaRPr lang="en-US" sz="1600"/>
        </a:p>
      </dgm:t>
    </dgm:pt>
    <dgm:pt modelId="{E60C53BE-4EDB-4EE4-AC50-B1B5E1CA71CB}">
      <dgm:prSet phldrT="[Text]" custT="1"/>
      <dgm:spPr>
        <a:solidFill>
          <a:schemeClr val="accent3">
            <a:lumMod val="40000"/>
            <a:lumOff val="60000"/>
          </a:schemeClr>
        </a:solidFill>
      </dgm:spPr>
      <dgm:t>
        <a:bodyPr/>
        <a:lstStyle/>
        <a:p>
          <a:r>
            <a:rPr lang="en-US" sz="1600" b="1">
              <a:solidFill>
                <a:schemeClr val="tx1"/>
              </a:solidFill>
            </a:rPr>
            <a:t>Consent Management Procedure</a:t>
          </a:r>
        </a:p>
      </dgm:t>
    </dgm:pt>
    <dgm:pt modelId="{E7A38BF8-DEF8-4DBD-B12A-549E931C1682}" type="parTrans" cxnId="{2DC30A6C-64A9-4137-B0C8-078CE39AA294}">
      <dgm:prSet/>
      <dgm:spPr/>
      <dgm:t>
        <a:bodyPr/>
        <a:lstStyle/>
        <a:p>
          <a:endParaRPr lang="en-US" sz="1600"/>
        </a:p>
      </dgm:t>
    </dgm:pt>
    <dgm:pt modelId="{E6125202-B1EC-44A1-97DC-1F034ECCB09B}" type="sibTrans" cxnId="{2DC30A6C-64A9-4137-B0C8-078CE39AA294}">
      <dgm:prSet/>
      <dgm:spPr/>
      <dgm:t>
        <a:bodyPr/>
        <a:lstStyle/>
        <a:p>
          <a:endParaRPr lang="en-US" sz="1600"/>
        </a:p>
      </dgm:t>
    </dgm:pt>
    <dgm:pt modelId="{0407C14E-E1B0-4D31-B8A1-51041D8100B8}">
      <dgm:prSet phldrT="[Text]" custT="1"/>
      <dgm:spPr/>
      <dgm:t>
        <a:bodyPr/>
        <a:lstStyle/>
        <a:p>
          <a:r>
            <a:rPr lang="en-US" sz="1600"/>
            <a:t>Guides the collection, management, and documentation of data subject consent.</a:t>
          </a:r>
        </a:p>
      </dgm:t>
    </dgm:pt>
    <dgm:pt modelId="{287B32BB-AEF0-4EAB-9167-5C9CF21C01E3}" type="parTrans" cxnId="{5ED69E9B-8B83-4C18-B8A8-C6604DE0FF8F}">
      <dgm:prSet/>
      <dgm:spPr/>
      <dgm:t>
        <a:bodyPr/>
        <a:lstStyle/>
        <a:p>
          <a:endParaRPr lang="en-US" sz="1600"/>
        </a:p>
      </dgm:t>
    </dgm:pt>
    <dgm:pt modelId="{8A3601C0-AEDB-435E-AEA9-6665CAD8C326}" type="sibTrans" cxnId="{5ED69E9B-8B83-4C18-B8A8-C6604DE0FF8F}">
      <dgm:prSet/>
      <dgm:spPr/>
      <dgm:t>
        <a:bodyPr/>
        <a:lstStyle/>
        <a:p>
          <a:endParaRPr lang="en-US" sz="1600"/>
        </a:p>
      </dgm:t>
    </dgm:pt>
    <dgm:pt modelId="{AC8F911F-8B62-4828-A1F4-EF8FB37F35BA}">
      <dgm:prSet phldrT="[Text]" custT="1"/>
      <dgm:spPr/>
      <dgm:t>
        <a:bodyPr/>
        <a:lstStyle/>
        <a:p>
          <a:r>
            <a:rPr lang="en-US" sz="1600"/>
            <a:t>Outlines the organization’s commitment and approach to data protection.</a:t>
          </a:r>
        </a:p>
      </dgm:t>
    </dgm:pt>
    <dgm:pt modelId="{F46BFF1C-6899-4188-B196-83625A51B013}" type="parTrans" cxnId="{1608F279-47BA-445A-A9C3-CF2584C14583}">
      <dgm:prSet/>
      <dgm:spPr/>
      <dgm:t>
        <a:bodyPr/>
        <a:lstStyle/>
        <a:p>
          <a:endParaRPr lang="en-US" sz="1600"/>
        </a:p>
      </dgm:t>
    </dgm:pt>
    <dgm:pt modelId="{6ECD8EF2-F4A8-4682-A55E-0E848F0E76D7}" type="sibTrans" cxnId="{1608F279-47BA-445A-A9C3-CF2584C14583}">
      <dgm:prSet/>
      <dgm:spPr/>
      <dgm:t>
        <a:bodyPr/>
        <a:lstStyle/>
        <a:p>
          <a:endParaRPr lang="en-US" sz="1600"/>
        </a:p>
      </dgm:t>
    </dgm:pt>
    <dgm:pt modelId="{76BCC696-928D-4693-B71D-345BDFC01927}">
      <dgm:prSet phldrT="[Text]" custT="1"/>
      <dgm:spPr>
        <a:solidFill>
          <a:schemeClr val="accent3">
            <a:lumMod val="40000"/>
            <a:lumOff val="60000"/>
          </a:schemeClr>
        </a:solidFill>
      </dgm:spPr>
      <dgm:t>
        <a:bodyPr/>
        <a:lstStyle/>
        <a:p>
          <a:r>
            <a:rPr lang="en-US" sz="1600" b="1">
              <a:solidFill>
                <a:schemeClr val="tx1"/>
              </a:solidFill>
            </a:rPr>
            <a:t>Cross-Border Data Transfer Procedure</a:t>
          </a:r>
        </a:p>
      </dgm:t>
    </dgm:pt>
    <dgm:pt modelId="{5BC12D28-9E4E-4A7C-A740-1046E28DE1F2}" type="parTrans" cxnId="{498E8C94-2DAB-400D-8880-7E93D0BB3F62}">
      <dgm:prSet/>
      <dgm:spPr/>
      <dgm:t>
        <a:bodyPr/>
        <a:lstStyle/>
        <a:p>
          <a:endParaRPr lang="en-US" sz="1600"/>
        </a:p>
      </dgm:t>
    </dgm:pt>
    <dgm:pt modelId="{4BAE317A-8C8C-4057-90D7-BDA49A8219ED}" type="sibTrans" cxnId="{498E8C94-2DAB-400D-8880-7E93D0BB3F62}">
      <dgm:prSet/>
      <dgm:spPr/>
      <dgm:t>
        <a:bodyPr/>
        <a:lstStyle/>
        <a:p>
          <a:endParaRPr lang="en-US" sz="1600"/>
        </a:p>
      </dgm:t>
    </dgm:pt>
    <dgm:pt modelId="{5BACAD3C-D30B-4614-8713-0DCD17A161F0}">
      <dgm:prSet phldrT="[Text]" custT="1"/>
      <dgm:spPr/>
      <dgm:t>
        <a:bodyPr/>
        <a:lstStyle/>
        <a:p>
          <a:r>
            <a:rPr lang="en-US" sz="1600"/>
            <a:t>Establishes controls for secure and lawful data transfers outside the Kingdom.</a:t>
          </a:r>
        </a:p>
      </dgm:t>
    </dgm:pt>
    <dgm:pt modelId="{ACD8C2C3-1CD4-4DEC-9132-B1F567C39036}" type="parTrans" cxnId="{1E54614B-4805-477B-83CC-A334F1074065}">
      <dgm:prSet/>
      <dgm:spPr/>
      <dgm:t>
        <a:bodyPr/>
        <a:lstStyle/>
        <a:p>
          <a:endParaRPr lang="en-US" sz="1600"/>
        </a:p>
      </dgm:t>
    </dgm:pt>
    <dgm:pt modelId="{0363666D-7EDB-4F03-9A76-7228BAD0C98C}" type="sibTrans" cxnId="{1E54614B-4805-477B-83CC-A334F1074065}">
      <dgm:prSet/>
      <dgm:spPr/>
      <dgm:t>
        <a:bodyPr/>
        <a:lstStyle/>
        <a:p>
          <a:endParaRPr lang="en-US" sz="1600"/>
        </a:p>
      </dgm:t>
    </dgm:pt>
    <dgm:pt modelId="{84E5077C-35C0-4D79-BE89-14BF562AB217}">
      <dgm:prSet phldrT="[Text]" custT="1"/>
      <dgm:spPr>
        <a:solidFill>
          <a:schemeClr val="accent3">
            <a:lumMod val="40000"/>
            <a:lumOff val="60000"/>
          </a:schemeClr>
        </a:solidFill>
      </dgm:spPr>
      <dgm:t>
        <a:bodyPr/>
        <a:lstStyle/>
        <a:p>
          <a:r>
            <a:rPr lang="en-US" sz="1600" b="1">
              <a:solidFill>
                <a:schemeClr val="tx1"/>
              </a:solidFill>
            </a:rPr>
            <a:t>Data Protection Governance Framework</a:t>
          </a:r>
        </a:p>
      </dgm:t>
    </dgm:pt>
    <dgm:pt modelId="{D58800EF-A096-4021-993D-00FB5FE87EFF}" type="parTrans" cxnId="{407E0009-F2D7-49B9-820D-A7364ECF5210}">
      <dgm:prSet/>
      <dgm:spPr/>
      <dgm:t>
        <a:bodyPr/>
        <a:lstStyle/>
        <a:p>
          <a:endParaRPr lang="en-US" sz="1600"/>
        </a:p>
      </dgm:t>
    </dgm:pt>
    <dgm:pt modelId="{E63643FD-6903-411C-919C-BFD52C1210ED}" type="sibTrans" cxnId="{407E0009-F2D7-49B9-820D-A7364ECF5210}">
      <dgm:prSet/>
      <dgm:spPr/>
      <dgm:t>
        <a:bodyPr/>
        <a:lstStyle/>
        <a:p>
          <a:endParaRPr lang="en-US" sz="1600"/>
        </a:p>
      </dgm:t>
    </dgm:pt>
    <dgm:pt modelId="{84E9485D-EF82-4307-9DB5-8ABAF45DC1EB}">
      <dgm:prSet phldrT="[Text]" custT="1"/>
      <dgm:spPr/>
      <dgm:t>
        <a:bodyPr/>
        <a:lstStyle/>
        <a:p>
          <a:r>
            <a:rPr lang="en-US" sz="1600"/>
            <a:t>Defines roles, responsibilities, and accountability for data protection within the organization.</a:t>
          </a:r>
        </a:p>
      </dgm:t>
    </dgm:pt>
    <dgm:pt modelId="{FDE44600-9494-4521-AFDE-3CE7FAA8DD4E}" type="parTrans" cxnId="{5D44531E-3563-48D8-B512-2DE45352006B}">
      <dgm:prSet/>
      <dgm:spPr/>
      <dgm:t>
        <a:bodyPr/>
        <a:lstStyle/>
        <a:p>
          <a:endParaRPr lang="en-US" sz="1600"/>
        </a:p>
      </dgm:t>
    </dgm:pt>
    <dgm:pt modelId="{32F7A98B-F34D-4A19-9274-9E53F21F1A2A}" type="sibTrans" cxnId="{5D44531E-3563-48D8-B512-2DE45352006B}">
      <dgm:prSet/>
      <dgm:spPr/>
      <dgm:t>
        <a:bodyPr/>
        <a:lstStyle/>
        <a:p>
          <a:endParaRPr lang="en-US" sz="1600"/>
        </a:p>
      </dgm:t>
    </dgm:pt>
    <dgm:pt modelId="{984CAEC4-8165-4A43-B811-754CC0B8C985}">
      <dgm:prSet phldrT="[Text]" custT="1"/>
      <dgm:spPr>
        <a:solidFill>
          <a:schemeClr val="accent3">
            <a:lumMod val="40000"/>
            <a:lumOff val="60000"/>
          </a:schemeClr>
        </a:solidFill>
      </dgm:spPr>
      <dgm:t>
        <a:bodyPr/>
        <a:lstStyle/>
        <a:p>
          <a:r>
            <a:rPr lang="en-US" sz="1600" b="1">
              <a:solidFill>
                <a:schemeClr val="tx1"/>
              </a:solidFill>
            </a:rPr>
            <a:t>Data Protection Impact Assessment (DPIA) Methodology</a:t>
          </a:r>
        </a:p>
      </dgm:t>
    </dgm:pt>
    <dgm:pt modelId="{49CB0E83-0FD9-4436-96D4-FB281646B9F0}" type="parTrans" cxnId="{88D1DF6E-80E7-4190-8DED-24B9E25C498A}">
      <dgm:prSet/>
      <dgm:spPr/>
      <dgm:t>
        <a:bodyPr/>
        <a:lstStyle/>
        <a:p>
          <a:endParaRPr lang="en-US" sz="1600"/>
        </a:p>
      </dgm:t>
    </dgm:pt>
    <dgm:pt modelId="{D21869BD-13BC-4B3C-83A0-9BACF6E60F4F}" type="sibTrans" cxnId="{88D1DF6E-80E7-4190-8DED-24B9E25C498A}">
      <dgm:prSet/>
      <dgm:spPr/>
      <dgm:t>
        <a:bodyPr/>
        <a:lstStyle/>
        <a:p>
          <a:endParaRPr lang="en-US" sz="1600"/>
        </a:p>
      </dgm:t>
    </dgm:pt>
    <dgm:pt modelId="{152D1CFA-A2DF-4D54-A5B1-344737925909}">
      <dgm:prSet phldrT="[Text]" custT="1"/>
      <dgm:spPr/>
      <dgm:t>
        <a:bodyPr/>
        <a:lstStyle/>
        <a:p>
          <a:r>
            <a:rPr lang="en-US" sz="1600"/>
            <a:t>Provides a structured approach to identifying and mitigating risks related to personal data processing.</a:t>
          </a:r>
        </a:p>
      </dgm:t>
    </dgm:pt>
    <dgm:pt modelId="{E4D5D3D7-BC91-4795-AB50-68E70C8F26C5}" type="parTrans" cxnId="{06013BF5-ED17-4427-B386-C091A2E727D8}">
      <dgm:prSet/>
      <dgm:spPr/>
      <dgm:t>
        <a:bodyPr/>
        <a:lstStyle/>
        <a:p>
          <a:endParaRPr lang="en-US" sz="1600"/>
        </a:p>
      </dgm:t>
    </dgm:pt>
    <dgm:pt modelId="{641F00FE-A013-4EFE-8D0F-BEE8995354A1}" type="sibTrans" cxnId="{06013BF5-ED17-4427-B386-C091A2E727D8}">
      <dgm:prSet/>
      <dgm:spPr/>
      <dgm:t>
        <a:bodyPr/>
        <a:lstStyle/>
        <a:p>
          <a:endParaRPr lang="en-US" sz="1600"/>
        </a:p>
      </dgm:t>
    </dgm:pt>
    <dgm:pt modelId="{B0D405F1-18BC-48B2-9995-CDC36DD7AD5A}">
      <dgm:prSet phldrT="[Text]" custT="1"/>
      <dgm:spPr>
        <a:solidFill>
          <a:schemeClr val="accent3">
            <a:lumMod val="40000"/>
            <a:lumOff val="60000"/>
          </a:schemeClr>
        </a:solidFill>
      </dgm:spPr>
      <dgm:t>
        <a:bodyPr/>
        <a:lstStyle/>
        <a:p>
          <a:r>
            <a:rPr lang="en-US" sz="1600" b="1">
              <a:solidFill>
                <a:schemeClr val="tx1"/>
              </a:solidFill>
            </a:rPr>
            <a:t>Data Protection Policy</a:t>
          </a:r>
        </a:p>
      </dgm:t>
    </dgm:pt>
    <dgm:pt modelId="{87FF2640-2ACF-4921-AF5A-3B6BACFCB90B}" type="parTrans" cxnId="{94AB1889-27DC-4E37-9963-3ED137AEF85D}">
      <dgm:prSet/>
      <dgm:spPr/>
      <dgm:t>
        <a:bodyPr/>
        <a:lstStyle/>
        <a:p>
          <a:endParaRPr lang="en-US" sz="1600"/>
        </a:p>
      </dgm:t>
    </dgm:pt>
    <dgm:pt modelId="{01124115-DB25-45CB-8671-54E641F64D07}" type="sibTrans" cxnId="{94AB1889-27DC-4E37-9963-3ED137AEF85D}">
      <dgm:prSet/>
      <dgm:spPr/>
      <dgm:t>
        <a:bodyPr/>
        <a:lstStyle/>
        <a:p>
          <a:endParaRPr lang="en-US" sz="1600"/>
        </a:p>
      </dgm:t>
    </dgm:pt>
    <dgm:pt modelId="{D83B0697-FE99-4FCA-B38A-069DD67D3B5D}" type="pres">
      <dgm:prSet presAssocID="{33DE05DC-3686-4C6A-853D-BB1944122ED6}" presName="linear" presStyleCnt="0">
        <dgm:presLayoutVars>
          <dgm:animLvl val="lvl"/>
          <dgm:resizeHandles val="exact"/>
        </dgm:presLayoutVars>
      </dgm:prSet>
      <dgm:spPr/>
    </dgm:pt>
    <dgm:pt modelId="{1E1D3DF4-CF0C-4D54-B8BD-159EA6629EE1}" type="pres">
      <dgm:prSet presAssocID="{B05422D6-C0A9-4FB8-8E41-3D8C835822B4}" presName="parentText" presStyleLbl="node1" presStyleIdx="0" presStyleCnt="6">
        <dgm:presLayoutVars>
          <dgm:chMax val="0"/>
          <dgm:bulletEnabled val="1"/>
        </dgm:presLayoutVars>
      </dgm:prSet>
      <dgm:spPr/>
    </dgm:pt>
    <dgm:pt modelId="{44F611A4-B666-4ECF-A391-FF774917FE2B}" type="pres">
      <dgm:prSet presAssocID="{B05422D6-C0A9-4FB8-8E41-3D8C835822B4}" presName="childText" presStyleLbl="revTx" presStyleIdx="0" presStyleCnt="6">
        <dgm:presLayoutVars>
          <dgm:bulletEnabled val="1"/>
        </dgm:presLayoutVars>
      </dgm:prSet>
      <dgm:spPr/>
    </dgm:pt>
    <dgm:pt modelId="{631FA0B5-2DAF-4A03-A6D3-02A1869B3101}" type="pres">
      <dgm:prSet presAssocID="{E60C53BE-4EDB-4EE4-AC50-B1B5E1CA71CB}" presName="parentText" presStyleLbl="node1" presStyleIdx="1" presStyleCnt="6">
        <dgm:presLayoutVars>
          <dgm:chMax val="0"/>
          <dgm:bulletEnabled val="1"/>
        </dgm:presLayoutVars>
      </dgm:prSet>
      <dgm:spPr/>
    </dgm:pt>
    <dgm:pt modelId="{5B8C7A00-576C-4467-9F54-9F9E4B6FC0E8}" type="pres">
      <dgm:prSet presAssocID="{E60C53BE-4EDB-4EE4-AC50-B1B5E1CA71CB}" presName="childText" presStyleLbl="revTx" presStyleIdx="1" presStyleCnt="6">
        <dgm:presLayoutVars>
          <dgm:bulletEnabled val="1"/>
        </dgm:presLayoutVars>
      </dgm:prSet>
      <dgm:spPr/>
    </dgm:pt>
    <dgm:pt modelId="{CC7002E9-D234-4A9E-A199-3519EE6CB98C}" type="pres">
      <dgm:prSet presAssocID="{76BCC696-928D-4693-B71D-345BDFC01927}" presName="parentText" presStyleLbl="node1" presStyleIdx="2" presStyleCnt="6">
        <dgm:presLayoutVars>
          <dgm:chMax val="0"/>
          <dgm:bulletEnabled val="1"/>
        </dgm:presLayoutVars>
      </dgm:prSet>
      <dgm:spPr/>
    </dgm:pt>
    <dgm:pt modelId="{CBC926B7-F776-4C47-B700-65FA983F1CAE}" type="pres">
      <dgm:prSet presAssocID="{76BCC696-928D-4693-B71D-345BDFC01927}" presName="childText" presStyleLbl="revTx" presStyleIdx="2" presStyleCnt="6">
        <dgm:presLayoutVars>
          <dgm:bulletEnabled val="1"/>
        </dgm:presLayoutVars>
      </dgm:prSet>
      <dgm:spPr/>
    </dgm:pt>
    <dgm:pt modelId="{E97E31EE-F625-4ABF-B2DA-9AD2FFDB9E43}" type="pres">
      <dgm:prSet presAssocID="{84E5077C-35C0-4D79-BE89-14BF562AB217}" presName="parentText" presStyleLbl="node1" presStyleIdx="3" presStyleCnt="6">
        <dgm:presLayoutVars>
          <dgm:chMax val="0"/>
          <dgm:bulletEnabled val="1"/>
        </dgm:presLayoutVars>
      </dgm:prSet>
      <dgm:spPr/>
    </dgm:pt>
    <dgm:pt modelId="{BEFE32DC-03E3-4D08-AC02-FFBE4DE432C6}" type="pres">
      <dgm:prSet presAssocID="{84E5077C-35C0-4D79-BE89-14BF562AB217}" presName="childText" presStyleLbl="revTx" presStyleIdx="3" presStyleCnt="6">
        <dgm:presLayoutVars>
          <dgm:bulletEnabled val="1"/>
        </dgm:presLayoutVars>
      </dgm:prSet>
      <dgm:spPr/>
    </dgm:pt>
    <dgm:pt modelId="{D2401DC5-A800-4EAB-AF15-15F3AB1208C0}" type="pres">
      <dgm:prSet presAssocID="{984CAEC4-8165-4A43-B811-754CC0B8C985}" presName="parentText" presStyleLbl="node1" presStyleIdx="4" presStyleCnt="6">
        <dgm:presLayoutVars>
          <dgm:chMax val="0"/>
          <dgm:bulletEnabled val="1"/>
        </dgm:presLayoutVars>
      </dgm:prSet>
      <dgm:spPr/>
    </dgm:pt>
    <dgm:pt modelId="{93C8CCE0-1F9D-4B9B-BF06-EDBAE033B411}" type="pres">
      <dgm:prSet presAssocID="{984CAEC4-8165-4A43-B811-754CC0B8C985}" presName="childText" presStyleLbl="revTx" presStyleIdx="4" presStyleCnt="6">
        <dgm:presLayoutVars>
          <dgm:bulletEnabled val="1"/>
        </dgm:presLayoutVars>
      </dgm:prSet>
      <dgm:spPr/>
    </dgm:pt>
    <dgm:pt modelId="{F9E3158A-975D-4804-A40C-196D7312D68E}" type="pres">
      <dgm:prSet presAssocID="{B0D405F1-18BC-48B2-9995-CDC36DD7AD5A}" presName="parentText" presStyleLbl="node1" presStyleIdx="5" presStyleCnt="6">
        <dgm:presLayoutVars>
          <dgm:chMax val="0"/>
          <dgm:bulletEnabled val="1"/>
        </dgm:presLayoutVars>
      </dgm:prSet>
      <dgm:spPr/>
    </dgm:pt>
    <dgm:pt modelId="{F8BDDB02-5533-4C50-981F-0A371D8F0E7E}" type="pres">
      <dgm:prSet presAssocID="{B0D405F1-18BC-48B2-9995-CDC36DD7AD5A}" presName="childText" presStyleLbl="revTx" presStyleIdx="5" presStyleCnt="6">
        <dgm:presLayoutVars>
          <dgm:bulletEnabled val="1"/>
        </dgm:presLayoutVars>
      </dgm:prSet>
      <dgm:spPr/>
    </dgm:pt>
  </dgm:ptLst>
  <dgm:cxnLst>
    <dgm:cxn modelId="{80645D07-24FE-4262-B90C-04E5B9541E49}" type="presOf" srcId="{33DE05DC-3686-4C6A-853D-BB1944122ED6}" destId="{D83B0697-FE99-4FCA-B38A-069DD67D3B5D}" srcOrd="0" destOrd="0" presId="urn:microsoft.com/office/officeart/2005/8/layout/vList2"/>
    <dgm:cxn modelId="{1DDF6C08-93E3-4D48-B4E9-987A9A8D02E5}" type="presOf" srcId="{B0D405F1-18BC-48B2-9995-CDC36DD7AD5A}" destId="{F9E3158A-975D-4804-A40C-196D7312D68E}" srcOrd="0" destOrd="0" presId="urn:microsoft.com/office/officeart/2005/8/layout/vList2"/>
    <dgm:cxn modelId="{407E0009-F2D7-49B9-820D-A7364ECF5210}" srcId="{33DE05DC-3686-4C6A-853D-BB1944122ED6}" destId="{84E5077C-35C0-4D79-BE89-14BF562AB217}" srcOrd="3" destOrd="0" parTransId="{D58800EF-A096-4021-993D-00FB5FE87EFF}" sibTransId="{E63643FD-6903-411C-919C-BFD52C1210ED}"/>
    <dgm:cxn modelId="{5D44531E-3563-48D8-B512-2DE45352006B}" srcId="{84E5077C-35C0-4D79-BE89-14BF562AB217}" destId="{84E9485D-EF82-4307-9DB5-8ABAF45DC1EB}" srcOrd="0" destOrd="0" parTransId="{FDE44600-9494-4521-AFDE-3CE7FAA8DD4E}" sibTransId="{32F7A98B-F34D-4A19-9274-9E53F21F1A2A}"/>
    <dgm:cxn modelId="{A05BAF21-45CD-4250-8B36-FCCAACDB67C5}" type="presOf" srcId="{84E9485D-EF82-4307-9DB5-8ABAF45DC1EB}" destId="{BEFE32DC-03E3-4D08-AC02-FFBE4DE432C6}" srcOrd="0" destOrd="0" presId="urn:microsoft.com/office/officeart/2005/8/layout/vList2"/>
    <dgm:cxn modelId="{D16A0E22-CD35-4C67-809B-12BA33FE4417}" type="presOf" srcId="{AC8F911F-8B62-4828-A1F4-EF8FB37F35BA}" destId="{F8BDDB02-5533-4C50-981F-0A371D8F0E7E}" srcOrd="0" destOrd="0" presId="urn:microsoft.com/office/officeart/2005/8/layout/vList2"/>
    <dgm:cxn modelId="{6CBF3023-F1FB-483A-B7E2-5752A5F3E0FC}" type="presOf" srcId="{84E5077C-35C0-4D79-BE89-14BF562AB217}" destId="{E97E31EE-F625-4ABF-B2DA-9AD2FFDB9E43}" srcOrd="0" destOrd="0" presId="urn:microsoft.com/office/officeart/2005/8/layout/vList2"/>
    <dgm:cxn modelId="{C9953F2F-DDF2-403B-AED3-C56803AF7A58}" type="presOf" srcId="{27F7CFC6-94CD-4A8D-AC50-2FB6BCEDF157}" destId="{44F611A4-B666-4ECF-A391-FF774917FE2B}" srcOrd="0" destOrd="0" presId="urn:microsoft.com/office/officeart/2005/8/layout/vList2"/>
    <dgm:cxn modelId="{46C7993C-56F1-439E-9612-2047DA5269F5}" type="presOf" srcId="{B05422D6-C0A9-4FB8-8E41-3D8C835822B4}" destId="{1E1D3DF4-CF0C-4D54-B8BD-159EA6629EE1}" srcOrd="0" destOrd="0" presId="urn:microsoft.com/office/officeart/2005/8/layout/vList2"/>
    <dgm:cxn modelId="{819F8348-E9BC-4B7E-B440-A18CB9426CF0}" srcId="{33DE05DC-3686-4C6A-853D-BB1944122ED6}" destId="{B05422D6-C0A9-4FB8-8E41-3D8C835822B4}" srcOrd="0" destOrd="0" parTransId="{110DB02C-9EF7-486F-9868-EC28E3990C35}" sibTransId="{22892689-33DD-4D59-870D-720C9F825411}"/>
    <dgm:cxn modelId="{1E54614B-4805-477B-83CC-A334F1074065}" srcId="{76BCC696-928D-4693-B71D-345BDFC01927}" destId="{5BACAD3C-D30B-4614-8713-0DCD17A161F0}" srcOrd="0" destOrd="0" parTransId="{ACD8C2C3-1CD4-4DEC-9132-B1F567C39036}" sibTransId="{0363666D-7EDB-4F03-9A76-7228BAD0C98C}"/>
    <dgm:cxn modelId="{2DC30A6C-64A9-4137-B0C8-078CE39AA294}" srcId="{33DE05DC-3686-4C6A-853D-BB1944122ED6}" destId="{E60C53BE-4EDB-4EE4-AC50-B1B5E1CA71CB}" srcOrd="1" destOrd="0" parTransId="{E7A38BF8-DEF8-4DBD-B12A-549E931C1682}" sibTransId="{E6125202-B1EC-44A1-97DC-1F034ECCB09B}"/>
    <dgm:cxn modelId="{88D1DF6E-80E7-4190-8DED-24B9E25C498A}" srcId="{33DE05DC-3686-4C6A-853D-BB1944122ED6}" destId="{984CAEC4-8165-4A43-B811-754CC0B8C985}" srcOrd="4" destOrd="0" parTransId="{49CB0E83-0FD9-4436-96D4-FB281646B9F0}" sibTransId="{D21869BD-13BC-4B3C-83A0-9BACF6E60F4F}"/>
    <dgm:cxn modelId="{487BFC50-F951-4C25-A08C-E52C134D3122}" type="presOf" srcId="{5BACAD3C-D30B-4614-8713-0DCD17A161F0}" destId="{CBC926B7-F776-4C47-B700-65FA983F1CAE}" srcOrd="0" destOrd="0" presId="urn:microsoft.com/office/officeart/2005/8/layout/vList2"/>
    <dgm:cxn modelId="{1608F279-47BA-445A-A9C3-CF2584C14583}" srcId="{B0D405F1-18BC-48B2-9995-CDC36DD7AD5A}" destId="{AC8F911F-8B62-4828-A1F4-EF8FB37F35BA}" srcOrd="0" destOrd="0" parTransId="{F46BFF1C-6899-4188-B196-83625A51B013}" sibTransId="{6ECD8EF2-F4A8-4682-A55E-0E848F0E76D7}"/>
    <dgm:cxn modelId="{F5047D5A-A546-4349-A277-F6A969AB68C0}" type="presOf" srcId="{152D1CFA-A2DF-4D54-A5B1-344737925909}" destId="{93C8CCE0-1F9D-4B9B-BF06-EDBAE033B411}" srcOrd="0" destOrd="0" presId="urn:microsoft.com/office/officeart/2005/8/layout/vList2"/>
    <dgm:cxn modelId="{94AB1889-27DC-4E37-9963-3ED137AEF85D}" srcId="{33DE05DC-3686-4C6A-853D-BB1944122ED6}" destId="{B0D405F1-18BC-48B2-9995-CDC36DD7AD5A}" srcOrd="5" destOrd="0" parTransId="{87FF2640-2ACF-4921-AF5A-3B6BACFCB90B}" sibTransId="{01124115-DB25-45CB-8671-54E641F64D07}"/>
    <dgm:cxn modelId="{6435F989-F1D1-40BE-90A3-F06BD31CA0F9}" type="presOf" srcId="{984CAEC4-8165-4A43-B811-754CC0B8C985}" destId="{D2401DC5-A800-4EAB-AF15-15F3AB1208C0}" srcOrd="0" destOrd="0" presId="urn:microsoft.com/office/officeart/2005/8/layout/vList2"/>
    <dgm:cxn modelId="{498E8C94-2DAB-400D-8880-7E93D0BB3F62}" srcId="{33DE05DC-3686-4C6A-853D-BB1944122ED6}" destId="{76BCC696-928D-4693-B71D-345BDFC01927}" srcOrd="2" destOrd="0" parTransId="{5BC12D28-9E4E-4A7C-A740-1046E28DE1F2}" sibTransId="{4BAE317A-8C8C-4057-90D7-BDA49A8219ED}"/>
    <dgm:cxn modelId="{EC1A6898-1D57-4C94-9AE0-2B88F99E411E}" type="presOf" srcId="{76BCC696-928D-4693-B71D-345BDFC01927}" destId="{CC7002E9-D234-4A9E-A199-3519EE6CB98C}" srcOrd="0" destOrd="0" presId="urn:microsoft.com/office/officeart/2005/8/layout/vList2"/>
    <dgm:cxn modelId="{5ED69E9B-8B83-4C18-B8A8-C6604DE0FF8F}" srcId="{E60C53BE-4EDB-4EE4-AC50-B1B5E1CA71CB}" destId="{0407C14E-E1B0-4D31-B8A1-51041D8100B8}" srcOrd="0" destOrd="0" parTransId="{287B32BB-AEF0-4EAB-9167-5C9CF21C01E3}" sibTransId="{8A3601C0-AEDB-435E-AEA9-6665CAD8C326}"/>
    <dgm:cxn modelId="{0854C3A4-9A3C-409C-99CC-52B782093306}" type="presOf" srcId="{0407C14E-E1B0-4D31-B8A1-51041D8100B8}" destId="{5B8C7A00-576C-4467-9F54-9F9E4B6FC0E8}" srcOrd="0" destOrd="0" presId="urn:microsoft.com/office/officeart/2005/8/layout/vList2"/>
    <dgm:cxn modelId="{0743AAC9-B541-42F5-9EA5-2A9ECF5242F4}" type="presOf" srcId="{E60C53BE-4EDB-4EE4-AC50-B1B5E1CA71CB}" destId="{631FA0B5-2DAF-4A03-A6D3-02A1869B3101}" srcOrd="0" destOrd="0" presId="urn:microsoft.com/office/officeart/2005/8/layout/vList2"/>
    <dgm:cxn modelId="{06013BF5-ED17-4427-B386-C091A2E727D8}" srcId="{984CAEC4-8165-4A43-B811-754CC0B8C985}" destId="{152D1CFA-A2DF-4D54-A5B1-344737925909}" srcOrd="0" destOrd="0" parTransId="{E4D5D3D7-BC91-4795-AB50-68E70C8F26C5}" sibTransId="{641F00FE-A013-4EFE-8D0F-BEE8995354A1}"/>
    <dgm:cxn modelId="{6846D9FB-19FF-45E5-AF4B-32F6C1AB303E}" srcId="{B05422D6-C0A9-4FB8-8E41-3D8C835822B4}" destId="{27F7CFC6-94CD-4A8D-AC50-2FB6BCEDF157}" srcOrd="0" destOrd="0" parTransId="{2C8A963E-91E3-49B3-BA3C-B44D6B50926A}" sibTransId="{6E54062D-9CB2-4BFA-9B04-637768637C0D}"/>
    <dgm:cxn modelId="{BA5D4B4E-6C35-42CE-B08C-0E1797CA3F7F}" type="presParOf" srcId="{D83B0697-FE99-4FCA-B38A-069DD67D3B5D}" destId="{1E1D3DF4-CF0C-4D54-B8BD-159EA6629EE1}" srcOrd="0" destOrd="0" presId="urn:microsoft.com/office/officeart/2005/8/layout/vList2"/>
    <dgm:cxn modelId="{1E9F81E7-1FE0-41CC-AE5F-B75256481BAA}" type="presParOf" srcId="{D83B0697-FE99-4FCA-B38A-069DD67D3B5D}" destId="{44F611A4-B666-4ECF-A391-FF774917FE2B}" srcOrd="1" destOrd="0" presId="urn:microsoft.com/office/officeart/2005/8/layout/vList2"/>
    <dgm:cxn modelId="{19950CF2-4AA2-4734-A66A-ED1EE5B2B7AA}" type="presParOf" srcId="{D83B0697-FE99-4FCA-B38A-069DD67D3B5D}" destId="{631FA0B5-2DAF-4A03-A6D3-02A1869B3101}" srcOrd="2" destOrd="0" presId="urn:microsoft.com/office/officeart/2005/8/layout/vList2"/>
    <dgm:cxn modelId="{3706F83E-7CE7-4CEA-90CA-AD5CE192BB97}" type="presParOf" srcId="{D83B0697-FE99-4FCA-B38A-069DD67D3B5D}" destId="{5B8C7A00-576C-4467-9F54-9F9E4B6FC0E8}" srcOrd="3" destOrd="0" presId="urn:microsoft.com/office/officeart/2005/8/layout/vList2"/>
    <dgm:cxn modelId="{E61DA23E-9A32-48A1-A646-76224B21C855}" type="presParOf" srcId="{D83B0697-FE99-4FCA-B38A-069DD67D3B5D}" destId="{CC7002E9-D234-4A9E-A199-3519EE6CB98C}" srcOrd="4" destOrd="0" presId="urn:microsoft.com/office/officeart/2005/8/layout/vList2"/>
    <dgm:cxn modelId="{1BCD4E3B-C345-4D94-8053-4C1EDD79B885}" type="presParOf" srcId="{D83B0697-FE99-4FCA-B38A-069DD67D3B5D}" destId="{CBC926B7-F776-4C47-B700-65FA983F1CAE}" srcOrd="5" destOrd="0" presId="urn:microsoft.com/office/officeart/2005/8/layout/vList2"/>
    <dgm:cxn modelId="{E4904257-880A-4D91-AA56-C2914841EE07}" type="presParOf" srcId="{D83B0697-FE99-4FCA-B38A-069DD67D3B5D}" destId="{E97E31EE-F625-4ABF-B2DA-9AD2FFDB9E43}" srcOrd="6" destOrd="0" presId="urn:microsoft.com/office/officeart/2005/8/layout/vList2"/>
    <dgm:cxn modelId="{EF0EE2D2-F033-40F4-8E8B-BA99DA7CEF48}" type="presParOf" srcId="{D83B0697-FE99-4FCA-B38A-069DD67D3B5D}" destId="{BEFE32DC-03E3-4D08-AC02-FFBE4DE432C6}" srcOrd="7" destOrd="0" presId="urn:microsoft.com/office/officeart/2005/8/layout/vList2"/>
    <dgm:cxn modelId="{8D0520D3-0770-4F58-8136-961144FA826D}" type="presParOf" srcId="{D83B0697-FE99-4FCA-B38A-069DD67D3B5D}" destId="{D2401DC5-A800-4EAB-AF15-15F3AB1208C0}" srcOrd="8" destOrd="0" presId="urn:microsoft.com/office/officeart/2005/8/layout/vList2"/>
    <dgm:cxn modelId="{DB1BE890-9EBD-4F56-8B7B-AF352834DA8A}" type="presParOf" srcId="{D83B0697-FE99-4FCA-B38A-069DD67D3B5D}" destId="{93C8CCE0-1F9D-4B9B-BF06-EDBAE033B411}" srcOrd="9" destOrd="0" presId="urn:microsoft.com/office/officeart/2005/8/layout/vList2"/>
    <dgm:cxn modelId="{3FF33E94-46D0-44D3-9309-B76E45CCA09A}" type="presParOf" srcId="{D83B0697-FE99-4FCA-B38A-069DD67D3B5D}" destId="{F9E3158A-975D-4804-A40C-196D7312D68E}" srcOrd="10" destOrd="0" presId="urn:microsoft.com/office/officeart/2005/8/layout/vList2"/>
    <dgm:cxn modelId="{5E676CA4-C3CC-41E3-9323-52A6B4A44D3F}" type="presParOf" srcId="{D83B0697-FE99-4FCA-B38A-069DD67D3B5D}" destId="{F8BDDB02-5533-4C50-981F-0A371D8F0E7E}" srcOrd="1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3DE05DC-3686-4C6A-853D-BB1944122ED6}"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B05422D6-C0A9-4FB8-8E41-3D8C835822B4}">
      <dgm:prSet phldrT="[Text]" custT="1"/>
      <dgm:spPr>
        <a:solidFill>
          <a:schemeClr val="accent3">
            <a:lumMod val="40000"/>
            <a:lumOff val="60000"/>
          </a:schemeClr>
        </a:solidFill>
      </dgm:spPr>
      <dgm:t>
        <a:bodyPr/>
        <a:lstStyle/>
        <a:p>
          <a:r>
            <a:rPr lang="en-US" sz="1600" b="1">
              <a:solidFill>
                <a:schemeClr val="tx1"/>
              </a:solidFill>
            </a:rPr>
            <a:t>Data Subject Rights Procedure</a:t>
          </a:r>
        </a:p>
      </dgm:t>
    </dgm:pt>
    <dgm:pt modelId="{110DB02C-9EF7-486F-9868-EC28E3990C35}" type="parTrans" cxnId="{819F8348-E9BC-4B7E-B440-A18CB9426CF0}">
      <dgm:prSet/>
      <dgm:spPr/>
      <dgm:t>
        <a:bodyPr/>
        <a:lstStyle/>
        <a:p>
          <a:endParaRPr lang="en-US" sz="1600"/>
        </a:p>
      </dgm:t>
    </dgm:pt>
    <dgm:pt modelId="{22892689-33DD-4D59-870D-720C9F825411}" type="sibTrans" cxnId="{819F8348-E9BC-4B7E-B440-A18CB9426CF0}">
      <dgm:prSet/>
      <dgm:spPr/>
      <dgm:t>
        <a:bodyPr/>
        <a:lstStyle/>
        <a:p>
          <a:endParaRPr lang="en-US" sz="1600"/>
        </a:p>
      </dgm:t>
    </dgm:pt>
    <dgm:pt modelId="{27F7CFC6-94CD-4A8D-AC50-2FB6BCEDF157}">
      <dgm:prSet phldrT="[Text]" custT="1"/>
      <dgm:spPr/>
      <dgm:t>
        <a:bodyPr/>
        <a:lstStyle/>
        <a:p>
          <a:r>
            <a:rPr lang="en-US" sz="1600"/>
            <a:t>Details the processes for responding to data subject rights requests, such as access, rectification, and erasure.</a:t>
          </a:r>
        </a:p>
      </dgm:t>
    </dgm:pt>
    <dgm:pt modelId="{2C8A963E-91E3-49B3-BA3C-B44D6B50926A}" type="parTrans" cxnId="{6846D9FB-19FF-45E5-AF4B-32F6C1AB303E}">
      <dgm:prSet/>
      <dgm:spPr/>
      <dgm:t>
        <a:bodyPr/>
        <a:lstStyle/>
        <a:p>
          <a:endParaRPr lang="en-US" sz="1600"/>
        </a:p>
      </dgm:t>
    </dgm:pt>
    <dgm:pt modelId="{6E54062D-9CB2-4BFA-9B04-637768637C0D}" type="sibTrans" cxnId="{6846D9FB-19FF-45E5-AF4B-32F6C1AB303E}">
      <dgm:prSet/>
      <dgm:spPr/>
      <dgm:t>
        <a:bodyPr/>
        <a:lstStyle/>
        <a:p>
          <a:endParaRPr lang="en-US" sz="1600"/>
        </a:p>
      </dgm:t>
    </dgm:pt>
    <dgm:pt modelId="{E60C53BE-4EDB-4EE4-AC50-B1B5E1CA71CB}">
      <dgm:prSet phldrT="[Text]" custT="1"/>
      <dgm:spPr>
        <a:solidFill>
          <a:schemeClr val="accent3">
            <a:lumMod val="40000"/>
            <a:lumOff val="60000"/>
          </a:schemeClr>
        </a:solidFill>
      </dgm:spPr>
      <dgm:t>
        <a:bodyPr/>
        <a:lstStyle/>
        <a:p>
          <a:r>
            <a:rPr lang="en-US" sz="1600" b="1">
              <a:solidFill>
                <a:schemeClr val="tx1"/>
              </a:solidFill>
            </a:rPr>
            <a:t>Personal Data Breach Notification Procedure</a:t>
          </a:r>
        </a:p>
      </dgm:t>
    </dgm:pt>
    <dgm:pt modelId="{E7A38BF8-DEF8-4DBD-B12A-549E931C1682}" type="parTrans" cxnId="{2DC30A6C-64A9-4137-B0C8-078CE39AA294}">
      <dgm:prSet/>
      <dgm:spPr/>
      <dgm:t>
        <a:bodyPr/>
        <a:lstStyle/>
        <a:p>
          <a:endParaRPr lang="en-US" sz="1600"/>
        </a:p>
      </dgm:t>
    </dgm:pt>
    <dgm:pt modelId="{E6125202-B1EC-44A1-97DC-1F034ECCB09B}" type="sibTrans" cxnId="{2DC30A6C-64A9-4137-B0C8-078CE39AA294}">
      <dgm:prSet/>
      <dgm:spPr/>
      <dgm:t>
        <a:bodyPr/>
        <a:lstStyle/>
        <a:p>
          <a:endParaRPr lang="en-US" sz="1600"/>
        </a:p>
      </dgm:t>
    </dgm:pt>
    <dgm:pt modelId="{0407C14E-E1B0-4D31-B8A1-51041D8100B8}">
      <dgm:prSet phldrT="[Text]" custT="1"/>
      <dgm:spPr/>
      <dgm:t>
        <a:bodyPr/>
        <a:lstStyle/>
        <a:p>
          <a:r>
            <a:rPr lang="en-US" sz="1600"/>
            <a:t>Ensures timely and effective management of data breaches in compliance with PDPL requirements.</a:t>
          </a:r>
        </a:p>
      </dgm:t>
    </dgm:pt>
    <dgm:pt modelId="{287B32BB-AEF0-4EAB-9167-5C9CF21C01E3}" type="parTrans" cxnId="{5ED69E9B-8B83-4C18-B8A8-C6604DE0FF8F}">
      <dgm:prSet/>
      <dgm:spPr/>
      <dgm:t>
        <a:bodyPr/>
        <a:lstStyle/>
        <a:p>
          <a:endParaRPr lang="en-US" sz="1600"/>
        </a:p>
      </dgm:t>
    </dgm:pt>
    <dgm:pt modelId="{8A3601C0-AEDB-435E-AEA9-6665CAD8C326}" type="sibTrans" cxnId="{5ED69E9B-8B83-4C18-B8A8-C6604DE0FF8F}">
      <dgm:prSet/>
      <dgm:spPr/>
      <dgm:t>
        <a:bodyPr/>
        <a:lstStyle/>
        <a:p>
          <a:endParaRPr lang="en-US" sz="1600"/>
        </a:p>
      </dgm:t>
    </dgm:pt>
    <dgm:pt modelId="{AC8F911F-8B62-4828-A1F4-EF8FB37F35BA}">
      <dgm:prSet phldrT="[Text]" custT="1"/>
      <dgm:spPr/>
      <dgm:t>
        <a:bodyPr/>
        <a:lstStyle/>
        <a:p>
          <a:r>
            <a:rPr lang="en-US" sz="1600"/>
            <a:t>Establishes guidelines for managing and documenting data sharing with third parties.</a:t>
          </a:r>
        </a:p>
      </dgm:t>
    </dgm:pt>
    <dgm:pt modelId="{F46BFF1C-6899-4188-B196-83625A51B013}" type="parTrans" cxnId="{1608F279-47BA-445A-A9C3-CF2584C14583}">
      <dgm:prSet/>
      <dgm:spPr/>
      <dgm:t>
        <a:bodyPr/>
        <a:lstStyle/>
        <a:p>
          <a:endParaRPr lang="en-US" sz="1600"/>
        </a:p>
      </dgm:t>
    </dgm:pt>
    <dgm:pt modelId="{6ECD8EF2-F4A8-4682-A55E-0E848F0E76D7}" type="sibTrans" cxnId="{1608F279-47BA-445A-A9C3-CF2584C14583}">
      <dgm:prSet/>
      <dgm:spPr/>
      <dgm:t>
        <a:bodyPr/>
        <a:lstStyle/>
        <a:p>
          <a:endParaRPr lang="en-US" sz="1600"/>
        </a:p>
      </dgm:t>
    </dgm:pt>
    <dgm:pt modelId="{76BCC696-928D-4693-B71D-345BDFC01927}">
      <dgm:prSet phldrT="[Text]" custT="1"/>
      <dgm:spPr>
        <a:solidFill>
          <a:schemeClr val="accent3">
            <a:lumMod val="40000"/>
            <a:lumOff val="60000"/>
          </a:schemeClr>
        </a:solidFill>
      </dgm:spPr>
      <dgm:t>
        <a:bodyPr/>
        <a:lstStyle/>
        <a:p>
          <a:r>
            <a:rPr lang="en-US" sz="1600" b="1">
              <a:solidFill>
                <a:schemeClr val="tx1"/>
              </a:solidFill>
            </a:rPr>
            <a:t>Personal Data Breach Notification Template</a:t>
          </a:r>
        </a:p>
      </dgm:t>
    </dgm:pt>
    <dgm:pt modelId="{5BC12D28-9E4E-4A7C-A740-1046E28DE1F2}" type="parTrans" cxnId="{498E8C94-2DAB-400D-8880-7E93D0BB3F62}">
      <dgm:prSet/>
      <dgm:spPr/>
      <dgm:t>
        <a:bodyPr/>
        <a:lstStyle/>
        <a:p>
          <a:endParaRPr lang="en-US" sz="1600"/>
        </a:p>
      </dgm:t>
    </dgm:pt>
    <dgm:pt modelId="{4BAE317A-8C8C-4057-90D7-BDA49A8219ED}" type="sibTrans" cxnId="{498E8C94-2DAB-400D-8880-7E93D0BB3F62}">
      <dgm:prSet/>
      <dgm:spPr/>
      <dgm:t>
        <a:bodyPr/>
        <a:lstStyle/>
        <a:p>
          <a:endParaRPr lang="en-US" sz="1600"/>
        </a:p>
      </dgm:t>
    </dgm:pt>
    <dgm:pt modelId="{5BACAD3C-D30B-4614-8713-0DCD17A161F0}">
      <dgm:prSet phldrT="[Text]" custT="1"/>
      <dgm:spPr/>
      <dgm:t>
        <a:bodyPr/>
        <a:lstStyle/>
        <a:p>
          <a:r>
            <a:rPr lang="en-US" sz="1600"/>
            <a:t>A ready-to-use template for notifying the regulatory authority and affected parties of data breaches.</a:t>
          </a:r>
        </a:p>
      </dgm:t>
    </dgm:pt>
    <dgm:pt modelId="{ACD8C2C3-1CD4-4DEC-9132-B1F567C39036}" type="parTrans" cxnId="{1E54614B-4805-477B-83CC-A334F1074065}">
      <dgm:prSet/>
      <dgm:spPr/>
      <dgm:t>
        <a:bodyPr/>
        <a:lstStyle/>
        <a:p>
          <a:endParaRPr lang="en-US" sz="1600"/>
        </a:p>
      </dgm:t>
    </dgm:pt>
    <dgm:pt modelId="{0363666D-7EDB-4F03-9A76-7228BAD0C98C}" type="sibTrans" cxnId="{1E54614B-4805-477B-83CC-A334F1074065}">
      <dgm:prSet/>
      <dgm:spPr/>
      <dgm:t>
        <a:bodyPr/>
        <a:lstStyle/>
        <a:p>
          <a:endParaRPr lang="en-US" sz="1600"/>
        </a:p>
      </dgm:t>
    </dgm:pt>
    <dgm:pt modelId="{84E5077C-35C0-4D79-BE89-14BF562AB217}">
      <dgm:prSet phldrT="[Text]" custT="1"/>
      <dgm:spPr>
        <a:solidFill>
          <a:schemeClr val="accent3">
            <a:lumMod val="40000"/>
            <a:lumOff val="60000"/>
          </a:schemeClr>
        </a:solidFill>
      </dgm:spPr>
      <dgm:t>
        <a:bodyPr/>
        <a:lstStyle/>
        <a:p>
          <a:r>
            <a:rPr lang="en-US" sz="1600" b="1">
              <a:solidFill>
                <a:schemeClr val="tx1"/>
              </a:solidFill>
            </a:rPr>
            <a:t>Privacy Notice</a:t>
          </a:r>
        </a:p>
      </dgm:t>
    </dgm:pt>
    <dgm:pt modelId="{D58800EF-A096-4021-993D-00FB5FE87EFF}" type="parTrans" cxnId="{407E0009-F2D7-49B9-820D-A7364ECF5210}">
      <dgm:prSet/>
      <dgm:spPr/>
      <dgm:t>
        <a:bodyPr/>
        <a:lstStyle/>
        <a:p>
          <a:endParaRPr lang="en-US" sz="1600"/>
        </a:p>
      </dgm:t>
    </dgm:pt>
    <dgm:pt modelId="{E63643FD-6903-411C-919C-BFD52C1210ED}" type="sibTrans" cxnId="{407E0009-F2D7-49B9-820D-A7364ECF5210}">
      <dgm:prSet/>
      <dgm:spPr/>
      <dgm:t>
        <a:bodyPr/>
        <a:lstStyle/>
        <a:p>
          <a:endParaRPr lang="en-US" sz="1600"/>
        </a:p>
      </dgm:t>
    </dgm:pt>
    <dgm:pt modelId="{84E9485D-EF82-4307-9DB5-8ABAF45DC1EB}">
      <dgm:prSet phldrT="[Text]" custT="1"/>
      <dgm:spPr/>
      <dgm:t>
        <a:bodyPr/>
        <a:lstStyle/>
        <a:p>
          <a:r>
            <a:rPr lang="en-US" sz="1600"/>
            <a:t>A concise and transparent statement for data subjects about how their personal data is collected, used, and protected.</a:t>
          </a:r>
        </a:p>
      </dgm:t>
    </dgm:pt>
    <dgm:pt modelId="{FDE44600-9494-4521-AFDE-3CE7FAA8DD4E}" type="parTrans" cxnId="{5D44531E-3563-48D8-B512-2DE45352006B}">
      <dgm:prSet/>
      <dgm:spPr/>
      <dgm:t>
        <a:bodyPr/>
        <a:lstStyle/>
        <a:p>
          <a:endParaRPr lang="en-US" sz="1600"/>
        </a:p>
      </dgm:t>
    </dgm:pt>
    <dgm:pt modelId="{32F7A98B-F34D-4A19-9274-9E53F21F1A2A}" type="sibTrans" cxnId="{5D44531E-3563-48D8-B512-2DE45352006B}">
      <dgm:prSet/>
      <dgm:spPr/>
      <dgm:t>
        <a:bodyPr/>
        <a:lstStyle/>
        <a:p>
          <a:endParaRPr lang="en-US" sz="1600"/>
        </a:p>
      </dgm:t>
    </dgm:pt>
    <dgm:pt modelId="{984CAEC4-8165-4A43-B811-754CC0B8C985}">
      <dgm:prSet phldrT="[Text]" custT="1"/>
      <dgm:spPr>
        <a:solidFill>
          <a:schemeClr val="accent3">
            <a:lumMod val="40000"/>
            <a:lumOff val="60000"/>
          </a:schemeClr>
        </a:solidFill>
      </dgm:spPr>
      <dgm:t>
        <a:bodyPr/>
        <a:lstStyle/>
        <a:p>
          <a:r>
            <a:rPr lang="en-US" sz="1600" b="1">
              <a:solidFill>
                <a:schemeClr val="tx1"/>
              </a:solidFill>
            </a:rPr>
            <a:t>Privacy Policy</a:t>
          </a:r>
        </a:p>
      </dgm:t>
    </dgm:pt>
    <dgm:pt modelId="{49CB0E83-0FD9-4436-96D4-FB281646B9F0}" type="parTrans" cxnId="{88D1DF6E-80E7-4190-8DED-24B9E25C498A}">
      <dgm:prSet/>
      <dgm:spPr/>
      <dgm:t>
        <a:bodyPr/>
        <a:lstStyle/>
        <a:p>
          <a:endParaRPr lang="en-US" sz="1600"/>
        </a:p>
      </dgm:t>
    </dgm:pt>
    <dgm:pt modelId="{D21869BD-13BC-4B3C-83A0-9BACF6E60F4F}" type="sibTrans" cxnId="{88D1DF6E-80E7-4190-8DED-24B9E25C498A}">
      <dgm:prSet/>
      <dgm:spPr/>
      <dgm:t>
        <a:bodyPr/>
        <a:lstStyle/>
        <a:p>
          <a:endParaRPr lang="en-US" sz="1600"/>
        </a:p>
      </dgm:t>
    </dgm:pt>
    <dgm:pt modelId="{152D1CFA-A2DF-4D54-A5B1-344737925909}">
      <dgm:prSet phldrT="[Text]" custT="1"/>
      <dgm:spPr/>
      <dgm:t>
        <a:bodyPr/>
        <a:lstStyle/>
        <a:p>
          <a:r>
            <a:rPr lang="en-US" sz="1600"/>
            <a:t>A detailed document outlining the organization’s practices and measures for safeguarding personal data.</a:t>
          </a:r>
        </a:p>
      </dgm:t>
    </dgm:pt>
    <dgm:pt modelId="{E4D5D3D7-BC91-4795-AB50-68E70C8F26C5}" type="parTrans" cxnId="{06013BF5-ED17-4427-B386-C091A2E727D8}">
      <dgm:prSet/>
      <dgm:spPr/>
      <dgm:t>
        <a:bodyPr/>
        <a:lstStyle/>
        <a:p>
          <a:endParaRPr lang="en-US" sz="1600"/>
        </a:p>
      </dgm:t>
    </dgm:pt>
    <dgm:pt modelId="{641F00FE-A013-4EFE-8D0F-BEE8995354A1}" type="sibTrans" cxnId="{06013BF5-ED17-4427-B386-C091A2E727D8}">
      <dgm:prSet/>
      <dgm:spPr/>
      <dgm:t>
        <a:bodyPr/>
        <a:lstStyle/>
        <a:p>
          <a:endParaRPr lang="en-US" sz="1600"/>
        </a:p>
      </dgm:t>
    </dgm:pt>
    <dgm:pt modelId="{B0D405F1-18BC-48B2-9995-CDC36DD7AD5A}">
      <dgm:prSet phldrT="[Text]" custT="1"/>
      <dgm:spPr>
        <a:solidFill>
          <a:schemeClr val="accent3">
            <a:lumMod val="40000"/>
            <a:lumOff val="60000"/>
          </a:schemeClr>
        </a:solidFill>
      </dgm:spPr>
      <dgm:t>
        <a:bodyPr/>
        <a:lstStyle/>
        <a:p>
          <a:r>
            <a:rPr lang="en-US" sz="1600" b="1">
              <a:solidFill>
                <a:schemeClr val="tx1"/>
              </a:solidFill>
            </a:rPr>
            <a:t>Third-Party Data Sharing and Disclosure Procedure</a:t>
          </a:r>
        </a:p>
      </dgm:t>
    </dgm:pt>
    <dgm:pt modelId="{87FF2640-2ACF-4921-AF5A-3B6BACFCB90B}" type="parTrans" cxnId="{94AB1889-27DC-4E37-9963-3ED137AEF85D}">
      <dgm:prSet/>
      <dgm:spPr/>
      <dgm:t>
        <a:bodyPr/>
        <a:lstStyle/>
        <a:p>
          <a:endParaRPr lang="en-US" sz="1600"/>
        </a:p>
      </dgm:t>
    </dgm:pt>
    <dgm:pt modelId="{01124115-DB25-45CB-8671-54E641F64D07}" type="sibTrans" cxnId="{94AB1889-27DC-4E37-9963-3ED137AEF85D}">
      <dgm:prSet/>
      <dgm:spPr/>
      <dgm:t>
        <a:bodyPr/>
        <a:lstStyle/>
        <a:p>
          <a:endParaRPr lang="en-US" sz="1600"/>
        </a:p>
      </dgm:t>
    </dgm:pt>
    <dgm:pt modelId="{D83B0697-FE99-4FCA-B38A-069DD67D3B5D}" type="pres">
      <dgm:prSet presAssocID="{33DE05DC-3686-4C6A-853D-BB1944122ED6}" presName="linear" presStyleCnt="0">
        <dgm:presLayoutVars>
          <dgm:animLvl val="lvl"/>
          <dgm:resizeHandles val="exact"/>
        </dgm:presLayoutVars>
      </dgm:prSet>
      <dgm:spPr/>
    </dgm:pt>
    <dgm:pt modelId="{1E1D3DF4-CF0C-4D54-B8BD-159EA6629EE1}" type="pres">
      <dgm:prSet presAssocID="{B05422D6-C0A9-4FB8-8E41-3D8C835822B4}" presName="parentText" presStyleLbl="node1" presStyleIdx="0" presStyleCnt="6">
        <dgm:presLayoutVars>
          <dgm:chMax val="0"/>
          <dgm:bulletEnabled val="1"/>
        </dgm:presLayoutVars>
      </dgm:prSet>
      <dgm:spPr/>
    </dgm:pt>
    <dgm:pt modelId="{44F611A4-B666-4ECF-A391-FF774917FE2B}" type="pres">
      <dgm:prSet presAssocID="{B05422D6-C0A9-4FB8-8E41-3D8C835822B4}" presName="childText" presStyleLbl="revTx" presStyleIdx="0" presStyleCnt="6">
        <dgm:presLayoutVars>
          <dgm:bulletEnabled val="1"/>
        </dgm:presLayoutVars>
      </dgm:prSet>
      <dgm:spPr/>
    </dgm:pt>
    <dgm:pt modelId="{631FA0B5-2DAF-4A03-A6D3-02A1869B3101}" type="pres">
      <dgm:prSet presAssocID="{E60C53BE-4EDB-4EE4-AC50-B1B5E1CA71CB}" presName="parentText" presStyleLbl="node1" presStyleIdx="1" presStyleCnt="6">
        <dgm:presLayoutVars>
          <dgm:chMax val="0"/>
          <dgm:bulletEnabled val="1"/>
        </dgm:presLayoutVars>
      </dgm:prSet>
      <dgm:spPr/>
    </dgm:pt>
    <dgm:pt modelId="{5B8C7A00-576C-4467-9F54-9F9E4B6FC0E8}" type="pres">
      <dgm:prSet presAssocID="{E60C53BE-4EDB-4EE4-AC50-B1B5E1CA71CB}" presName="childText" presStyleLbl="revTx" presStyleIdx="1" presStyleCnt="6">
        <dgm:presLayoutVars>
          <dgm:bulletEnabled val="1"/>
        </dgm:presLayoutVars>
      </dgm:prSet>
      <dgm:spPr/>
    </dgm:pt>
    <dgm:pt modelId="{CC7002E9-D234-4A9E-A199-3519EE6CB98C}" type="pres">
      <dgm:prSet presAssocID="{76BCC696-928D-4693-B71D-345BDFC01927}" presName="parentText" presStyleLbl="node1" presStyleIdx="2" presStyleCnt="6">
        <dgm:presLayoutVars>
          <dgm:chMax val="0"/>
          <dgm:bulletEnabled val="1"/>
        </dgm:presLayoutVars>
      </dgm:prSet>
      <dgm:spPr/>
    </dgm:pt>
    <dgm:pt modelId="{CBC926B7-F776-4C47-B700-65FA983F1CAE}" type="pres">
      <dgm:prSet presAssocID="{76BCC696-928D-4693-B71D-345BDFC01927}" presName="childText" presStyleLbl="revTx" presStyleIdx="2" presStyleCnt="6">
        <dgm:presLayoutVars>
          <dgm:bulletEnabled val="1"/>
        </dgm:presLayoutVars>
      </dgm:prSet>
      <dgm:spPr/>
    </dgm:pt>
    <dgm:pt modelId="{E97E31EE-F625-4ABF-B2DA-9AD2FFDB9E43}" type="pres">
      <dgm:prSet presAssocID="{84E5077C-35C0-4D79-BE89-14BF562AB217}" presName="parentText" presStyleLbl="node1" presStyleIdx="3" presStyleCnt="6">
        <dgm:presLayoutVars>
          <dgm:chMax val="0"/>
          <dgm:bulletEnabled val="1"/>
        </dgm:presLayoutVars>
      </dgm:prSet>
      <dgm:spPr/>
    </dgm:pt>
    <dgm:pt modelId="{BEFE32DC-03E3-4D08-AC02-FFBE4DE432C6}" type="pres">
      <dgm:prSet presAssocID="{84E5077C-35C0-4D79-BE89-14BF562AB217}" presName="childText" presStyleLbl="revTx" presStyleIdx="3" presStyleCnt="6">
        <dgm:presLayoutVars>
          <dgm:bulletEnabled val="1"/>
        </dgm:presLayoutVars>
      </dgm:prSet>
      <dgm:spPr/>
    </dgm:pt>
    <dgm:pt modelId="{D2401DC5-A800-4EAB-AF15-15F3AB1208C0}" type="pres">
      <dgm:prSet presAssocID="{984CAEC4-8165-4A43-B811-754CC0B8C985}" presName="parentText" presStyleLbl="node1" presStyleIdx="4" presStyleCnt="6">
        <dgm:presLayoutVars>
          <dgm:chMax val="0"/>
          <dgm:bulletEnabled val="1"/>
        </dgm:presLayoutVars>
      </dgm:prSet>
      <dgm:spPr/>
    </dgm:pt>
    <dgm:pt modelId="{93C8CCE0-1F9D-4B9B-BF06-EDBAE033B411}" type="pres">
      <dgm:prSet presAssocID="{984CAEC4-8165-4A43-B811-754CC0B8C985}" presName="childText" presStyleLbl="revTx" presStyleIdx="4" presStyleCnt="6">
        <dgm:presLayoutVars>
          <dgm:bulletEnabled val="1"/>
        </dgm:presLayoutVars>
      </dgm:prSet>
      <dgm:spPr/>
    </dgm:pt>
    <dgm:pt modelId="{F9E3158A-975D-4804-A40C-196D7312D68E}" type="pres">
      <dgm:prSet presAssocID="{B0D405F1-18BC-48B2-9995-CDC36DD7AD5A}" presName="parentText" presStyleLbl="node1" presStyleIdx="5" presStyleCnt="6">
        <dgm:presLayoutVars>
          <dgm:chMax val="0"/>
          <dgm:bulletEnabled val="1"/>
        </dgm:presLayoutVars>
      </dgm:prSet>
      <dgm:spPr/>
    </dgm:pt>
    <dgm:pt modelId="{F8BDDB02-5533-4C50-981F-0A371D8F0E7E}" type="pres">
      <dgm:prSet presAssocID="{B0D405F1-18BC-48B2-9995-CDC36DD7AD5A}" presName="childText" presStyleLbl="revTx" presStyleIdx="5" presStyleCnt="6">
        <dgm:presLayoutVars>
          <dgm:bulletEnabled val="1"/>
        </dgm:presLayoutVars>
      </dgm:prSet>
      <dgm:spPr/>
    </dgm:pt>
  </dgm:ptLst>
  <dgm:cxnLst>
    <dgm:cxn modelId="{80645D07-24FE-4262-B90C-04E5B9541E49}" type="presOf" srcId="{33DE05DC-3686-4C6A-853D-BB1944122ED6}" destId="{D83B0697-FE99-4FCA-B38A-069DD67D3B5D}" srcOrd="0" destOrd="0" presId="urn:microsoft.com/office/officeart/2005/8/layout/vList2"/>
    <dgm:cxn modelId="{1DDF6C08-93E3-4D48-B4E9-987A9A8D02E5}" type="presOf" srcId="{B0D405F1-18BC-48B2-9995-CDC36DD7AD5A}" destId="{F9E3158A-975D-4804-A40C-196D7312D68E}" srcOrd="0" destOrd="0" presId="urn:microsoft.com/office/officeart/2005/8/layout/vList2"/>
    <dgm:cxn modelId="{407E0009-F2D7-49B9-820D-A7364ECF5210}" srcId="{33DE05DC-3686-4C6A-853D-BB1944122ED6}" destId="{84E5077C-35C0-4D79-BE89-14BF562AB217}" srcOrd="3" destOrd="0" parTransId="{D58800EF-A096-4021-993D-00FB5FE87EFF}" sibTransId="{E63643FD-6903-411C-919C-BFD52C1210ED}"/>
    <dgm:cxn modelId="{5D44531E-3563-48D8-B512-2DE45352006B}" srcId="{84E5077C-35C0-4D79-BE89-14BF562AB217}" destId="{84E9485D-EF82-4307-9DB5-8ABAF45DC1EB}" srcOrd="0" destOrd="0" parTransId="{FDE44600-9494-4521-AFDE-3CE7FAA8DD4E}" sibTransId="{32F7A98B-F34D-4A19-9274-9E53F21F1A2A}"/>
    <dgm:cxn modelId="{A05BAF21-45CD-4250-8B36-FCCAACDB67C5}" type="presOf" srcId="{84E9485D-EF82-4307-9DB5-8ABAF45DC1EB}" destId="{BEFE32DC-03E3-4D08-AC02-FFBE4DE432C6}" srcOrd="0" destOrd="0" presId="urn:microsoft.com/office/officeart/2005/8/layout/vList2"/>
    <dgm:cxn modelId="{D16A0E22-CD35-4C67-809B-12BA33FE4417}" type="presOf" srcId="{AC8F911F-8B62-4828-A1F4-EF8FB37F35BA}" destId="{F8BDDB02-5533-4C50-981F-0A371D8F0E7E}" srcOrd="0" destOrd="0" presId="urn:microsoft.com/office/officeart/2005/8/layout/vList2"/>
    <dgm:cxn modelId="{6CBF3023-F1FB-483A-B7E2-5752A5F3E0FC}" type="presOf" srcId="{84E5077C-35C0-4D79-BE89-14BF562AB217}" destId="{E97E31EE-F625-4ABF-B2DA-9AD2FFDB9E43}" srcOrd="0" destOrd="0" presId="urn:microsoft.com/office/officeart/2005/8/layout/vList2"/>
    <dgm:cxn modelId="{C9953F2F-DDF2-403B-AED3-C56803AF7A58}" type="presOf" srcId="{27F7CFC6-94CD-4A8D-AC50-2FB6BCEDF157}" destId="{44F611A4-B666-4ECF-A391-FF774917FE2B}" srcOrd="0" destOrd="0" presId="urn:microsoft.com/office/officeart/2005/8/layout/vList2"/>
    <dgm:cxn modelId="{46C7993C-56F1-439E-9612-2047DA5269F5}" type="presOf" srcId="{B05422D6-C0A9-4FB8-8E41-3D8C835822B4}" destId="{1E1D3DF4-CF0C-4D54-B8BD-159EA6629EE1}" srcOrd="0" destOrd="0" presId="urn:microsoft.com/office/officeart/2005/8/layout/vList2"/>
    <dgm:cxn modelId="{819F8348-E9BC-4B7E-B440-A18CB9426CF0}" srcId="{33DE05DC-3686-4C6A-853D-BB1944122ED6}" destId="{B05422D6-C0A9-4FB8-8E41-3D8C835822B4}" srcOrd="0" destOrd="0" parTransId="{110DB02C-9EF7-486F-9868-EC28E3990C35}" sibTransId="{22892689-33DD-4D59-870D-720C9F825411}"/>
    <dgm:cxn modelId="{1E54614B-4805-477B-83CC-A334F1074065}" srcId="{76BCC696-928D-4693-B71D-345BDFC01927}" destId="{5BACAD3C-D30B-4614-8713-0DCD17A161F0}" srcOrd="0" destOrd="0" parTransId="{ACD8C2C3-1CD4-4DEC-9132-B1F567C39036}" sibTransId="{0363666D-7EDB-4F03-9A76-7228BAD0C98C}"/>
    <dgm:cxn modelId="{2DC30A6C-64A9-4137-B0C8-078CE39AA294}" srcId="{33DE05DC-3686-4C6A-853D-BB1944122ED6}" destId="{E60C53BE-4EDB-4EE4-AC50-B1B5E1CA71CB}" srcOrd="1" destOrd="0" parTransId="{E7A38BF8-DEF8-4DBD-B12A-549E931C1682}" sibTransId="{E6125202-B1EC-44A1-97DC-1F034ECCB09B}"/>
    <dgm:cxn modelId="{88D1DF6E-80E7-4190-8DED-24B9E25C498A}" srcId="{33DE05DC-3686-4C6A-853D-BB1944122ED6}" destId="{984CAEC4-8165-4A43-B811-754CC0B8C985}" srcOrd="4" destOrd="0" parTransId="{49CB0E83-0FD9-4436-96D4-FB281646B9F0}" sibTransId="{D21869BD-13BC-4B3C-83A0-9BACF6E60F4F}"/>
    <dgm:cxn modelId="{487BFC50-F951-4C25-A08C-E52C134D3122}" type="presOf" srcId="{5BACAD3C-D30B-4614-8713-0DCD17A161F0}" destId="{CBC926B7-F776-4C47-B700-65FA983F1CAE}" srcOrd="0" destOrd="0" presId="urn:microsoft.com/office/officeart/2005/8/layout/vList2"/>
    <dgm:cxn modelId="{1608F279-47BA-445A-A9C3-CF2584C14583}" srcId="{B0D405F1-18BC-48B2-9995-CDC36DD7AD5A}" destId="{AC8F911F-8B62-4828-A1F4-EF8FB37F35BA}" srcOrd="0" destOrd="0" parTransId="{F46BFF1C-6899-4188-B196-83625A51B013}" sibTransId="{6ECD8EF2-F4A8-4682-A55E-0E848F0E76D7}"/>
    <dgm:cxn modelId="{F5047D5A-A546-4349-A277-F6A969AB68C0}" type="presOf" srcId="{152D1CFA-A2DF-4D54-A5B1-344737925909}" destId="{93C8CCE0-1F9D-4B9B-BF06-EDBAE033B411}" srcOrd="0" destOrd="0" presId="urn:microsoft.com/office/officeart/2005/8/layout/vList2"/>
    <dgm:cxn modelId="{94AB1889-27DC-4E37-9963-3ED137AEF85D}" srcId="{33DE05DC-3686-4C6A-853D-BB1944122ED6}" destId="{B0D405F1-18BC-48B2-9995-CDC36DD7AD5A}" srcOrd="5" destOrd="0" parTransId="{87FF2640-2ACF-4921-AF5A-3B6BACFCB90B}" sibTransId="{01124115-DB25-45CB-8671-54E641F64D07}"/>
    <dgm:cxn modelId="{6435F989-F1D1-40BE-90A3-F06BD31CA0F9}" type="presOf" srcId="{984CAEC4-8165-4A43-B811-754CC0B8C985}" destId="{D2401DC5-A800-4EAB-AF15-15F3AB1208C0}" srcOrd="0" destOrd="0" presId="urn:microsoft.com/office/officeart/2005/8/layout/vList2"/>
    <dgm:cxn modelId="{498E8C94-2DAB-400D-8880-7E93D0BB3F62}" srcId="{33DE05DC-3686-4C6A-853D-BB1944122ED6}" destId="{76BCC696-928D-4693-B71D-345BDFC01927}" srcOrd="2" destOrd="0" parTransId="{5BC12D28-9E4E-4A7C-A740-1046E28DE1F2}" sibTransId="{4BAE317A-8C8C-4057-90D7-BDA49A8219ED}"/>
    <dgm:cxn modelId="{EC1A6898-1D57-4C94-9AE0-2B88F99E411E}" type="presOf" srcId="{76BCC696-928D-4693-B71D-345BDFC01927}" destId="{CC7002E9-D234-4A9E-A199-3519EE6CB98C}" srcOrd="0" destOrd="0" presId="urn:microsoft.com/office/officeart/2005/8/layout/vList2"/>
    <dgm:cxn modelId="{5ED69E9B-8B83-4C18-B8A8-C6604DE0FF8F}" srcId="{E60C53BE-4EDB-4EE4-AC50-B1B5E1CA71CB}" destId="{0407C14E-E1B0-4D31-B8A1-51041D8100B8}" srcOrd="0" destOrd="0" parTransId="{287B32BB-AEF0-4EAB-9167-5C9CF21C01E3}" sibTransId="{8A3601C0-AEDB-435E-AEA9-6665CAD8C326}"/>
    <dgm:cxn modelId="{0854C3A4-9A3C-409C-99CC-52B782093306}" type="presOf" srcId="{0407C14E-E1B0-4D31-B8A1-51041D8100B8}" destId="{5B8C7A00-576C-4467-9F54-9F9E4B6FC0E8}" srcOrd="0" destOrd="0" presId="urn:microsoft.com/office/officeart/2005/8/layout/vList2"/>
    <dgm:cxn modelId="{0743AAC9-B541-42F5-9EA5-2A9ECF5242F4}" type="presOf" srcId="{E60C53BE-4EDB-4EE4-AC50-B1B5E1CA71CB}" destId="{631FA0B5-2DAF-4A03-A6D3-02A1869B3101}" srcOrd="0" destOrd="0" presId="urn:microsoft.com/office/officeart/2005/8/layout/vList2"/>
    <dgm:cxn modelId="{06013BF5-ED17-4427-B386-C091A2E727D8}" srcId="{984CAEC4-8165-4A43-B811-754CC0B8C985}" destId="{152D1CFA-A2DF-4D54-A5B1-344737925909}" srcOrd="0" destOrd="0" parTransId="{E4D5D3D7-BC91-4795-AB50-68E70C8F26C5}" sibTransId="{641F00FE-A013-4EFE-8D0F-BEE8995354A1}"/>
    <dgm:cxn modelId="{6846D9FB-19FF-45E5-AF4B-32F6C1AB303E}" srcId="{B05422D6-C0A9-4FB8-8E41-3D8C835822B4}" destId="{27F7CFC6-94CD-4A8D-AC50-2FB6BCEDF157}" srcOrd="0" destOrd="0" parTransId="{2C8A963E-91E3-49B3-BA3C-B44D6B50926A}" sibTransId="{6E54062D-9CB2-4BFA-9B04-637768637C0D}"/>
    <dgm:cxn modelId="{BA5D4B4E-6C35-42CE-B08C-0E1797CA3F7F}" type="presParOf" srcId="{D83B0697-FE99-4FCA-B38A-069DD67D3B5D}" destId="{1E1D3DF4-CF0C-4D54-B8BD-159EA6629EE1}" srcOrd="0" destOrd="0" presId="urn:microsoft.com/office/officeart/2005/8/layout/vList2"/>
    <dgm:cxn modelId="{1E9F81E7-1FE0-41CC-AE5F-B75256481BAA}" type="presParOf" srcId="{D83B0697-FE99-4FCA-B38A-069DD67D3B5D}" destId="{44F611A4-B666-4ECF-A391-FF774917FE2B}" srcOrd="1" destOrd="0" presId="urn:microsoft.com/office/officeart/2005/8/layout/vList2"/>
    <dgm:cxn modelId="{19950CF2-4AA2-4734-A66A-ED1EE5B2B7AA}" type="presParOf" srcId="{D83B0697-FE99-4FCA-B38A-069DD67D3B5D}" destId="{631FA0B5-2DAF-4A03-A6D3-02A1869B3101}" srcOrd="2" destOrd="0" presId="urn:microsoft.com/office/officeart/2005/8/layout/vList2"/>
    <dgm:cxn modelId="{3706F83E-7CE7-4CEA-90CA-AD5CE192BB97}" type="presParOf" srcId="{D83B0697-FE99-4FCA-B38A-069DD67D3B5D}" destId="{5B8C7A00-576C-4467-9F54-9F9E4B6FC0E8}" srcOrd="3" destOrd="0" presId="urn:microsoft.com/office/officeart/2005/8/layout/vList2"/>
    <dgm:cxn modelId="{E61DA23E-9A32-48A1-A646-76224B21C855}" type="presParOf" srcId="{D83B0697-FE99-4FCA-B38A-069DD67D3B5D}" destId="{CC7002E9-D234-4A9E-A199-3519EE6CB98C}" srcOrd="4" destOrd="0" presId="urn:microsoft.com/office/officeart/2005/8/layout/vList2"/>
    <dgm:cxn modelId="{1BCD4E3B-C345-4D94-8053-4C1EDD79B885}" type="presParOf" srcId="{D83B0697-FE99-4FCA-B38A-069DD67D3B5D}" destId="{CBC926B7-F776-4C47-B700-65FA983F1CAE}" srcOrd="5" destOrd="0" presId="urn:microsoft.com/office/officeart/2005/8/layout/vList2"/>
    <dgm:cxn modelId="{E4904257-880A-4D91-AA56-C2914841EE07}" type="presParOf" srcId="{D83B0697-FE99-4FCA-B38A-069DD67D3B5D}" destId="{E97E31EE-F625-4ABF-B2DA-9AD2FFDB9E43}" srcOrd="6" destOrd="0" presId="urn:microsoft.com/office/officeart/2005/8/layout/vList2"/>
    <dgm:cxn modelId="{EF0EE2D2-F033-40F4-8E8B-BA99DA7CEF48}" type="presParOf" srcId="{D83B0697-FE99-4FCA-B38A-069DD67D3B5D}" destId="{BEFE32DC-03E3-4D08-AC02-FFBE4DE432C6}" srcOrd="7" destOrd="0" presId="urn:microsoft.com/office/officeart/2005/8/layout/vList2"/>
    <dgm:cxn modelId="{8D0520D3-0770-4F58-8136-961144FA826D}" type="presParOf" srcId="{D83B0697-FE99-4FCA-B38A-069DD67D3B5D}" destId="{D2401DC5-A800-4EAB-AF15-15F3AB1208C0}" srcOrd="8" destOrd="0" presId="urn:microsoft.com/office/officeart/2005/8/layout/vList2"/>
    <dgm:cxn modelId="{DB1BE890-9EBD-4F56-8B7B-AF352834DA8A}" type="presParOf" srcId="{D83B0697-FE99-4FCA-B38A-069DD67D3B5D}" destId="{93C8CCE0-1F9D-4B9B-BF06-EDBAE033B411}" srcOrd="9" destOrd="0" presId="urn:microsoft.com/office/officeart/2005/8/layout/vList2"/>
    <dgm:cxn modelId="{3FF33E94-46D0-44D3-9309-B76E45CCA09A}" type="presParOf" srcId="{D83B0697-FE99-4FCA-B38A-069DD67D3B5D}" destId="{F9E3158A-975D-4804-A40C-196D7312D68E}" srcOrd="10" destOrd="0" presId="urn:microsoft.com/office/officeart/2005/8/layout/vList2"/>
    <dgm:cxn modelId="{5E676CA4-C3CC-41E3-9323-52A6B4A44D3F}" type="presParOf" srcId="{D83B0697-FE99-4FCA-B38A-069DD67D3B5D}" destId="{F8BDDB02-5533-4C50-981F-0A371D8F0E7E}" srcOrd="1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1EAFF3C-BEDB-6C4E-ABA2-FAB3D2818A16}" type="doc">
      <dgm:prSet loTypeId="urn:microsoft.com/office/officeart/2005/8/layout/process4" loCatId="process" qsTypeId="urn:microsoft.com/office/officeart/2005/8/quickstyle/simple1" qsCatId="simple" csTypeId="urn:microsoft.com/office/officeart/2005/8/colors/colorful1" csCatId="colorful" phldr="1"/>
      <dgm:spPr/>
      <dgm:t>
        <a:bodyPr/>
        <a:lstStyle/>
        <a:p>
          <a:endParaRPr lang="en-GB"/>
        </a:p>
      </dgm:t>
    </dgm:pt>
    <dgm:pt modelId="{058E759C-1086-9644-B08F-9F6D98EF64C2}">
      <dgm:prSet custT="1"/>
      <dgm:spPr>
        <a:solidFill>
          <a:srgbClr val="C00000"/>
        </a:solidFill>
      </dgm:spPr>
      <dgm:t>
        <a:bodyPr/>
        <a:lstStyle/>
        <a:p>
          <a:pPr algn="ctr"/>
          <a:r>
            <a:rPr lang="en-AU" sz="1800" b="1"/>
            <a:t>Determination of the </a:t>
          </a:r>
          <a:r>
            <a:rPr lang="en-AU" sz="1800" b="1">
              <a:latin typeface="Calibri"/>
            </a:rPr>
            <a:t>Need</a:t>
          </a:r>
          <a:r>
            <a:rPr lang="en-AU" sz="1800" b="1"/>
            <a:t> for and </a:t>
          </a:r>
          <a:r>
            <a:rPr lang="en-AU" sz="1800" b="1">
              <a:latin typeface="Calibri"/>
            </a:rPr>
            <a:t>Scope</a:t>
          </a:r>
          <a:r>
            <a:rPr lang="en-AU" sz="1800" b="1"/>
            <a:t> of the DPIA</a:t>
          </a:r>
        </a:p>
      </dgm:t>
    </dgm:pt>
    <dgm:pt modelId="{FB3130FC-7E95-2742-A922-C401A5DE03AD}" type="parTrans" cxnId="{522BDBB5-42C4-0046-913F-69DBE07952E2}">
      <dgm:prSet/>
      <dgm:spPr/>
      <dgm:t>
        <a:bodyPr/>
        <a:lstStyle/>
        <a:p>
          <a:pPr algn="ctr"/>
          <a:endParaRPr lang="en-GB" sz="1800" b="1"/>
        </a:p>
      </dgm:t>
    </dgm:pt>
    <dgm:pt modelId="{8C317534-DE99-AE42-976F-00E9479100F5}" type="sibTrans" cxnId="{522BDBB5-42C4-0046-913F-69DBE07952E2}">
      <dgm:prSet custT="1"/>
      <dgm:spPr/>
      <dgm:t>
        <a:bodyPr/>
        <a:lstStyle/>
        <a:p>
          <a:pPr algn="ctr"/>
          <a:endParaRPr lang="en-GB" sz="1800" b="1"/>
        </a:p>
      </dgm:t>
    </dgm:pt>
    <dgm:pt modelId="{ED8BA90E-B22F-8B41-B0F2-6EB9FF5F21A5}">
      <dgm:prSet custT="1"/>
      <dgm:spPr>
        <a:solidFill>
          <a:srgbClr val="EA6B14"/>
        </a:solidFill>
      </dgm:spPr>
      <dgm:t>
        <a:bodyPr/>
        <a:lstStyle/>
        <a:p>
          <a:pPr algn="ctr"/>
          <a:r>
            <a:rPr lang="en-AU" sz="1800" b="1"/>
            <a:t>Description of Data Flows</a:t>
          </a:r>
        </a:p>
      </dgm:t>
    </dgm:pt>
    <dgm:pt modelId="{AC715CD2-2C58-B248-BEB7-C888FB85658F}" type="parTrans" cxnId="{23D160A1-5F1C-0242-A722-DC91034D597E}">
      <dgm:prSet/>
      <dgm:spPr/>
      <dgm:t>
        <a:bodyPr/>
        <a:lstStyle/>
        <a:p>
          <a:pPr algn="ctr"/>
          <a:endParaRPr lang="en-GB" sz="1800" b="1"/>
        </a:p>
      </dgm:t>
    </dgm:pt>
    <dgm:pt modelId="{7AE07170-06FD-6D4B-AE54-57CF655AB44C}" type="sibTrans" cxnId="{23D160A1-5F1C-0242-A722-DC91034D597E}">
      <dgm:prSet custT="1"/>
      <dgm:spPr/>
      <dgm:t>
        <a:bodyPr/>
        <a:lstStyle/>
        <a:p>
          <a:pPr algn="ctr"/>
          <a:endParaRPr lang="en-GB" sz="1800" b="1"/>
        </a:p>
      </dgm:t>
    </dgm:pt>
    <dgm:pt modelId="{FCFA4741-0C2E-5842-91AC-E816A69303FC}">
      <dgm:prSet custT="1"/>
      <dgm:spPr>
        <a:solidFill>
          <a:srgbClr val="6CA62C"/>
        </a:solidFill>
      </dgm:spPr>
      <dgm:t>
        <a:bodyPr/>
        <a:lstStyle/>
        <a:p>
          <a:pPr algn="ctr"/>
          <a:r>
            <a:rPr lang="en-AU" sz="1800" b="1"/>
            <a:t>Identification of </a:t>
          </a:r>
          <a:r>
            <a:rPr lang="en-AU" sz="1800" b="1">
              <a:latin typeface="Calibri"/>
            </a:rPr>
            <a:t>Data</a:t>
          </a:r>
          <a:r>
            <a:rPr lang="en-AU" sz="1800" b="1"/>
            <a:t> </a:t>
          </a:r>
          <a:r>
            <a:rPr lang="en-AU" sz="1800" b="1">
              <a:latin typeface="Calibri"/>
            </a:rPr>
            <a:t>Protection</a:t>
          </a:r>
          <a:r>
            <a:rPr lang="en-AU" sz="1800" b="1"/>
            <a:t> </a:t>
          </a:r>
          <a:r>
            <a:rPr lang="en-AU" sz="1800" b="1">
              <a:latin typeface="Calibri"/>
            </a:rPr>
            <a:t>Related</a:t>
          </a:r>
          <a:r>
            <a:rPr lang="en-AU" sz="1800" b="1"/>
            <a:t> </a:t>
          </a:r>
          <a:r>
            <a:rPr lang="en-AU" sz="1800" b="1">
              <a:latin typeface="Calibri"/>
            </a:rPr>
            <a:t>Risks</a:t>
          </a:r>
          <a:endParaRPr lang="en-AU" sz="1800" b="1"/>
        </a:p>
      </dgm:t>
    </dgm:pt>
    <dgm:pt modelId="{6751810E-35A4-7740-B6FB-66FB1518FBB9}" type="parTrans" cxnId="{16D6EA0A-0821-E943-B479-C17AD59CEB2E}">
      <dgm:prSet/>
      <dgm:spPr/>
      <dgm:t>
        <a:bodyPr/>
        <a:lstStyle/>
        <a:p>
          <a:pPr algn="ctr"/>
          <a:endParaRPr lang="en-GB" sz="1800" b="1"/>
        </a:p>
      </dgm:t>
    </dgm:pt>
    <dgm:pt modelId="{B503130B-F621-7544-A04F-343A0E580EBD}" type="sibTrans" cxnId="{16D6EA0A-0821-E943-B479-C17AD59CEB2E}">
      <dgm:prSet custT="1"/>
      <dgm:spPr/>
      <dgm:t>
        <a:bodyPr/>
        <a:lstStyle/>
        <a:p>
          <a:pPr algn="ctr"/>
          <a:endParaRPr lang="en-GB" sz="1800" b="1"/>
        </a:p>
      </dgm:t>
    </dgm:pt>
    <dgm:pt modelId="{6C8A0A75-DF83-1646-A265-A867BA04C69A}">
      <dgm:prSet custT="1"/>
      <dgm:spPr>
        <a:solidFill>
          <a:srgbClr val="002060"/>
        </a:solidFill>
      </dgm:spPr>
      <dgm:t>
        <a:bodyPr/>
        <a:lstStyle/>
        <a:p>
          <a:pPr algn="ctr"/>
          <a:r>
            <a:rPr lang="en-AU" sz="1800" b="1"/>
            <a:t>Solutions for </a:t>
          </a:r>
          <a:r>
            <a:rPr lang="en-AU" sz="1800" b="1">
              <a:latin typeface="Calibri"/>
            </a:rPr>
            <a:t>Addressing</a:t>
          </a:r>
          <a:r>
            <a:rPr lang="en-AU" sz="1800" b="1"/>
            <a:t> the </a:t>
          </a:r>
          <a:r>
            <a:rPr lang="en-AU" sz="1800" b="1">
              <a:latin typeface="Calibri"/>
            </a:rPr>
            <a:t>Risks</a:t>
          </a:r>
          <a:endParaRPr lang="en-AU" sz="1800" b="1"/>
        </a:p>
      </dgm:t>
    </dgm:pt>
    <dgm:pt modelId="{8FBBA74F-61BD-D040-8D28-42F4F74FA8BD}" type="parTrans" cxnId="{3888296E-0F9B-BA43-BB0B-ACE62B2847D6}">
      <dgm:prSet/>
      <dgm:spPr/>
      <dgm:t>
        <a:bodyPr/>
        <a:lstStyle/>
        <a:p>
          <a:pPr algn="ctr"/>
          <a:endParaRPr lang="en-GB" sz="1800" b="1"/>
        </a:p>
      </dgm:t>
    </dgm:pt>
    <dgm:pt modelId="{C9AA5C98-16E7-1D44-B670-35B07C597285}" type="sibTrans" cxnId="{3888296E-0F9B-BA43-BB0B-ACE62B2847D6}">
      <dgm:prSet custT="1"/>
      <dgm:spPr/>
      <dgm:t>
        <a:bodyPr/>
        <a:lstStyle/>
        <a:p>
          <a:pPr algn="ctr"/>
          <a:endParaRPr lang="en-GB" sz="1800" b="1"/>
        </a:p>
      </dgm:t>
    </dgm:pt>
    <dgm:pt modelId="{000C2747-FF6B-9D44-B12C-F4A2B8F9EA71}">
      <dgm:prSet custT="1"/>
      <dgm:spPr>
        <a:solidFill>
          <a:schemeClr val="accent2">
            <a:lumMod val="50000"/>
            <a:lumOff val="50000"/>
          </a:schemeClr>
        </a:solidFill>
      </dgm:spPr>
      <dgm:t>
        <a:bodyPr/>
        <a:lstStyle/>
        <a:p>
          <a:pPr algn="ctr"/>
          <a:r>
            <a:rPr lang="en-AU" sz="1800" b="1"/>
            <a:t>Evaluation of the </a:t>
          </a:r>
          <a:r>
            <a:rPr lang="en-AU" sz="1800" b="1">
              <a:latin typeface="Calibri"/>
            </a:rPr>
            <a:t>Compliance</a:t>
          </a:r>
          <a:r>
            <a:rPr lang="en-AU" sz="1800" b="1"/>
            <a:t> with </a:t>
          </a:r>
          <a:r>
            <a:rPr lang="en-AU" sz="1800" b="1">
              <a:latin typeface="Calibri"/>
            </a:rPr>
            <a:t>Legal</a:t>
          </a:r>
          <a:r>
            <a:rPr lang="en-AU" sz="1800" b="1"/>
            <a:t> </a:t>
          </a:r>
          <a:r>
            <a:rPr lang="en-AU" sz="1800" b="1">
              <a:latin typeface="Calibri"/>
            </a:rPr>
            <a:t>Requirements</a:t>
          </a:r>
          <a:endParaRPr lang="en-AU" sz="1800" b="1"/>
        </a:p>
      </dgm:t>
    </dgm:pt>
    <dgm:pt modelId="{64948114-7139-784D-833C-3DD1157B9674}" type="parTrans" cxnId="{19BA3DD3-28AF-C74F-823E-940DE2B1E760}">
      <dgm:prSet/>
      <dgm:spPr/>
      <dgm:t>
        <a:bodyPr/>
        <a:lstStyle/>
        <a:p>
          <a:pPr algn="ctr"/>
          <a:endParaRPr lang="en-GB" sz="1800" b="1"/>
        </a:p>
      </dgm:t>
    </dgm:pt>
    <dgm:pt modelId="{C9F22923-F7B2-6147-B2B5-267EE2C477C4}" type="sibTrans" cxnId="{19BA3DD3-28AF-C74F-823E-940DE2B1E760}">
      <dgm:prSet/>
      <dgm:spPr/>
      <dgm:t>
        <a:bodyPr/>
        <a:lstStyle/>
        <a:p>
          <a:pPr algn="ctr"/>
          <a:endParaRPr lang="en-GB" sz="1800" b="1"/>
        </a:p>
      </dgm:t>
    </dgm:pt>
    <dgm:pt modelId="{4CB7BC7F-2268-43CE-8B5E-09BDB58F06C4}">
      <dgm:prSet custT="1"/>
      <dgm:spPr>
        <a:solidFill>
          <a:srgbClr val="00B050"/>
        </a:solidFill>
      </dgm:spPr>
      <dgm:t>
        <a:bodyPr/>
        <a:lstStyle/>
        <a:p>
          <a:pPr algn="ctr"/>
          <a:r>
            <a:rPr lang="en-AU" sz="1800" b="1"/>
            <a:t>Plan of </a:t>
          </a:r>
          <a:r>
            <a:rPr lang="en-AU" sz="1800" b="1">
              <a:latin typeface="Calibri"/>
            </a:rPr>
            <a:t>Action</a:t>
          </a:r>
          <a:endParaRPr lang="en-AU" sz="1800" b="1"/>
        </a:p>
      </dgm:t>
    </dgm:pt>
    <dgm:pt modelId="{BCED2980-0E26-4339-A9EE-3DD0E19EEE21}" type="parTrans" cxnId="{30EBEF74-E202-4F0D-9E51-9C63BCCFC7F8}">
      <dgm:prSet/>
      <dgm:spPr/>
      <dgm:t>
        <a:bodyPr/>
        <a:lstStyle/>
        <a:p>
          <a:endParaRPr lang="en-US"/>
        </a:p>
      </dgm:t>
    </dgm:pt>
    <dgm:pt modelId="{0B730B1D-4347-4757-B2A1-F69C5667784E}" type="sibTrans" cxnId="{30EBEF74-E202-4F0D-9E51-9C63BCCFC7F8}">
      <dgm:prSet/>
      <dgm:spPr/>
      <dgm:t>
        <a:bodyPr/>
        <a:lstStyle/>
        <a:p>
          <a:endParaRPr lang="en-US"/>
        </a:p>
      </dgm:t>
    </dgm:pt>
    <dgm:pt modelId="{81A425CA-9844-4F68-929C-C0D34BC76C49}" type="pres">
      <dgm:prSet presAssocID="{11EAFF3C-BEDB-6C4E-ABA2-FAB3D2818A16}" presName="Name0" presStyleCnt="0">
        <dgm:presLayoutVars>
          <dgm:dir/>
          <dgm:animLvl val="lvl"/>
          <dgm:resizeHandles val="exact"/>
        </dgm:presLayoutVars>
      </dgm:prSet>
      <dgm:spPr/>
    </dgm:pt>
    <dgm:pt modelId="{BC846153-C0A7-415C-8D20-A304C2519AEC}" type="pres">
      <dgm:prSet presAssocID="{4CB7BC7F-2268-43CE-8B5E-09BDB58F06C4}" presName="boxAndChildren" presStyleCnt="0"/>
      <dgm:spPr/>
    </dgm:pt>
    <dgm:pt modelId="{B55C1EA1-963D-4B45-B0BD-C564AFCCEEEF}" type="pres">
      <dgm:prSet presAssocID="{4CB7BC7F-2268-43CE-8B5E-09BDB58F06C4}" presName="parentTextBox" presStyleLbl="node1" presStyleIdx="0" presStyleCnt="6"/>
      <dgm:spPr/>
    </dgm:pt>
    <dgm:pt modelId="{FC740724-DC0A-4B2E-AFB2-20293F575508}" type="pres">
      <dgm:prSet presAssocID="{C9F22923-F7B2-6147-B2B5-267EE2C477C4}" presName="sp" presStyleCnt="0"/>
      <dgm:spPr/>
    </dgm:pt>
    <dgm:pt modelId="{8A6F1A40-AF49-456E-A340-73745CF89ADA}" type="pres">
      <dgm:prSet presAssocID="{000C2747-FF6B-9D44-B12C-F4A2B8F9EA71}" presName="arrowAndChildren" presStyleCnt="0"/>
      <dgm:spPr/>
    </dgm:pt>
    <dgm:pt modelId="{5062B3E6-012B-4A10-BE77-C1C64FC23777}" type="pres">
      <dgm:prSet presAssocID="{000C2747-FF6B-9D44-B12C-F4A2B8F9EA71}" presName="parentTextArrow" presStyleLbl="node1" presStyleIdx="1" presStyleCnt="6"/>
      <dgm:spPr/>
    </dgm:pt>
    <dgm:pt modelId="{F1844149-D73C-4EAA-91B1-24BE5BA8DBA9}" type="pres">
      <dgm:prSet presAssocID="{C9AA5C98-16E7-1D44-B670-35B07C597285}" presName="sp" presStyleCnt="0"/>
      <dgm:spPr/>
    </dgm:pt>
    <dgm:pt modelId="{E763D1D6-4A21-4A97-B4B8-ED916A515C96}" type="pres">
      <dgm:prSet presAssocID="{6C8A0A75-DF83-1646-A265-A867BA04C69A}" presName="arrowAndChildren" presStyleCnt="0"/>
      <dgm:spPr/>
    </dgm:pt>
    <dgm:pt modelId="{6CFA97FB-CDF9-430A-86AF-B3E4E659D292}" type="pres">
      <dgm:prSet presAssocID="{6C8A0A75-DF83-1646-A265-A867BA04C69A}" presName="parentTextArrow" presStyleLbl="node1" presStyleIdx="2" presStyleCnt="6"/>
      <dgm:spPr/>
    </dgm:pt>
    <dgm:pt modelId="{92C885F7-260F-4AE3-BE3A-5A4CA66A08AE}" type="pres">
      <dgm:prSet presAssocID="{B503130B-F621-7544-A04F-343A0E580EBD}" presName="sp" presStyleCnt="0"/>
      <dgm:spPr/>
    </dgm:pt>
    <dgm:pt modelId="{B8921173-8419-487B-855D-66EEE3B935E3}" type="pres">
      <dgm:prSet presAssocID="{FCFA4741-0C2E-5842-91AC-E816A69303FC}" presName="arrowAndChildren" presStyleCnt="0"/>
      <dgm:spPr/>
    </dgm:pt>
    <dgm:pt modelId="{CCE2A1CE-A13D-492D-9078-4FBF513A8365}" type="pres">
      <dgm:prSet presAssocID="{FCFA4741-0C2E-5842-91AC-E816A69303FC}" presName="parentTextArrow" presStyleLbl="node1" presStyleIdx="3" presStyleCnt="6"/>
      <dgm:spPr/>
    </dgm:pt>
    <dgm:pt modelId="{7F30F07C-FEE7-4AE6-A377-F4992FEBA7A0}" type="pres">
      <dgm:prSet presAssocID="{7AE07170-06FD-6D4B-AE54-57CF655AB44C}" presName="sp" presStyleCnt="0"/>
      <dgm:spPr/>
    </dgm:pt>
    <dgm:pt modelId="{623AC462-C417-44DE-898F-50DCFD567C38}" type="pres">
      <dgm:prSet presAssocID="{ED8BA90E-B22F-8B41-B0F2-6EB9FF5F21A5}" presName="arrowAndChildren" presStyleCnt="0"/>
      <dgm:spPr/>
    </dgm:pt>
    <dgm:pt modelId="{32EFE6D1-9AF7-4D78-B394-002E38C95317}" type="pres">
      <dgm:prSet presAssocID="{ED8BA90E-B22F-8B41-B0F2-6EB9FF5F21A5}" presName="parentTextArrow" presStyleLbl="node1" presStyleIdx="4" presStyleCnt="6"/>
      <dgm:spPr/>
    </dgm:pt>
    <dgm:pt modelId="{39BB4649-DB47-40C1-92AC-2EE9E85AF48A}" type="pres">
      <dgm:prSet presAssocID="{8C317534-DE99-AE42-976F-00E9479100F5}" presName="sp" presStyleCnt="0"/>
      <dgm:spPr/>
    </dgm:pt>
    <dgm:pt modelId="{3AF77E8B-B492-4907-9833-F097C091EB00}" type="pres">
      <dgm:prSet presAssocID="{058E759C-1086-9644-B08F-9F6D98EF64C2}" presName="arrowAndChildren" presStyleCnt="0"/>
      <dgm:spPr/>
    </dgm:pt>
    <dgm:pt modelId="{6C808396-61BE-4AF1-AFD3-182427FBD02F}" type="pres">
      <dgm:prSet presAssocID="{058E759C-1086-9644-B08F-9F6D98EF64C2}" presName="parentTextArrow" presStyleLbl="node1" presStyleIdx="5" presStyleCnt="6"/>
      <dgm:spPr/>
    </dgm:pt>
  </dgm:ptLst>
  <dgm:cxnLst>
    <dgm:cxn modelId="{46CE1A07-58E9-4F04-8787-833A344C579A}" type="presOf" srcId="{FCFA4741-0C2E-5842-91AC-E816A69303FC}" destId="{CCE2A1CE-A13D-492D-9078-4FBF513A8365}" srcOrd="0" destOrd="0" presId="urn:microsoft.com/office/officeart/2005/8/layout/process4"/>
    <dgm:cxn modelId="{16D6EA0A-0821-E943-B479-C17AD59CEB2E}" srcId="{11EAFF3C-BEDB-6C4E-ABA2-FAB3D2818A16}" destId="{FCFA4741-0C2E-5842-91AC-E816A69303FC}" srcOrd="2" destOrd="0" parTransId="{6751810E-35A4-7740-B6FB-66FB1518FBB9}" sibTransId="{B503130B-F621-7544-A04F-343A0E580EBD}"/>
    <dgm:cxn modelId="{23CABF1C-684E-4251-A1D7-DA177663A92E}" type="presOf" srcId="{ED8BA90E-B22F-8B41-B0F2-6EB9FF5F21A5}" destId="{32EFE6D1-9AF7-4D78-B394-002E38C95317}" srcOrd="0" destOrd="0" presId="urn:microsoft.com/office/officeart/2005/8/layout/process4"/>
    <dgm:cxn modelId="{480DA726-D7F2-461B-9BB4-7B5DCC9631C7}" type="presOf" srcId="{4CB7BC7F-2268-43CE-8B5E-09BDB58F06C4}" destId="{B55C1EA1-963D-4B45-B0BD-C564AFCCEEEF}" srcOrd="0" destOrd="0" presId="urn:microsoft.com/office/officeart/2005/8/layout/process4"/>
    <dgm:cxn modelId="{F80BE044-1439-4952-9669-3FF5A1D72E46}" type="presOf" srcId="{11EAFF3C-BEDB-6C4E-ABA2-FAB3D2818A16}" destId="{81A425CA-9844-4F68-929C-C0D34BC76C49}" srcOrd="0" destOrd="0" presId="urn:microsoft.com/office/officeart/2005/8/layout/process4"/>
    <dgm:cxn modelId="{3888296E-0F9B-BA43-BB0B-ACE62B2847D6}" srcId="{11EAFF3C-BEDB-6C4E-ABA2-FAB3D2818A16}" destId="{6C8A0A75-DF83-1646-A265-A867BA04C69A}" srcOrd="3" destOrd="0" parTransId="{8FBBA74F-61BD-D040-8D28-42F4F74FA8BD}" sibTransId="{C9AA5C98-16E7-1D44-B670-35B07C597285}"/>
    <dgm:cxn modelId="{30EBEF74-E202-4F0D-9E51-9C63BCCFC7F8}" srcId="{11EAFF3C-BEDB-6C4E-ABA2-FAB3D2818A16}" destId="{4CB7BC7F-2268-43CE-8B5E-09BDB58F06C4}" srcOrd="5" destOrd="0" parTransId="{BCED2980-0E26-4339-A9EE-3DD0E19EEE21}" sibTransId="{0B730B1D-4347-4757-B2A1-F69C5667784E}"/>
    <dgm:cxn modelId="{C7AA3655-E6C6-4322-AAB1-0D2E4EAE420B}" type="presOf" srcId="{058E759C-1086-9644-B08F-9F6D98EF64C2}" destId="{6C808396-61BE-4AF1-AFD3-182427FBD02F}" srcOrd="0" destOrd="0" presId="urn:microsoft.com/office/officeart/2005/8/layout/process4"/>
    <dgm:cxn modelId="{1CC0A38C-94A2-4604-9239-9B67DB65F03C}" type="presOf" srcId="{000C2747-FF6B-9D44-B12C-F4A2B8F9EA71}" destId="{5062B3E6-012B-4A10-BE77-C1C64FC23777}" srcOrd="0" destOrd="0" presId="urn:microsoft.com/office/officeart/2005/8/layout/process4"/>
    <dgm:cxn modelId="{23D160A1-5F1C-0242-A722-DC91034D597E}" srcId="{11EAFF3C-BEDB-6C4E-ABA2-FAB3D2818A16}" destId="{ED8BA90E-B22F-8B41-B0F2-6EB9FF5F21A5}" srcOrd="1" destOrd="0" parTransId="{AC715CD2-2C58-B248-BEB7-C888FB85658F}" sibTransId="{7AE07170-06FD-6D4B-AE54-57CF655AB44C}"/>
    <dgm:cxn modelId="{522BDBB5-42C4-0046-913F-69DBE07952E2}" srcId="{11EAFF3C-BEDB-6C4E-ABA2-FAB3D2818A16}" destId="{058E759C-1086-9644-B08F-9F6D98EF64C2}" srcOrd="0" destOrd="0" parTransId="{FB3130FC-7E95-2742-A922-C401A5DE03AD}" sibTransId="{8C317534-DE99-AE42-976F-00E9479100F5}"/>
    <dgm:cxn modelId="{8B89A5BE-027E-4F68-A980-A1AE4D07CF3F}" type="presOf" srcId="{6C8A0A75-DF83-1646-A265-A867BA04C69A}" destId="{6CFA97FB-CDF9-430A-86AF-B3E4E659D292}" srcOrd="0" destOrd="0" presId="urn:microsoft.com/office/officeart/2005/8/layout/process4"/>
    <dgm:cxn modelId="{19BA3DD3-28AF-C74F-823E-940DE2B1E760}" srcId="{11EAFF3C-BEDB-6C4E-ABA2-FAB3D2818A16}" destId="{000C2747-FF6B-9D44-B12C-F4A2B8F9EA71}" srcOrd="4" destOrd="0" parTransId="{64948114-7139-784D-833C-3DD1157B9674}" sibTransId="{C9F22923-F7B2-6147-B2B5-267EE2C477C4}"/>
    <dgm:cxn modelId="{2C994D7F-BA1B-4DF8-9ABF-5B74B9D9F3E5}" type="presParOf" srcId="{81A425CA-9844-4F68-929C-C0D34BC76C49}" destId="{BC846153-C0A7-415C-8D20-A304C2519AEC}" srcOrd="0" destOrd="0" presId="urn:microsoft.com/office/officeart/2005/8/layout/process4"/>
    <dgm:cxn modelId="{2FBE1B44-98E6-4FDA-B4EE-327CC0DA0686}" type="presParOf" srcId="{BC846153-C0A7-415C-8D20-A304C2519AEC}" destId="{B55C1EA1-963D-4B45-B0BD-C564AFCCEEEF}" srcOrd="0" destOrd="0" presId="urn:microsoft.com/office/officeart/2005/8/layout/process4"/>
    <dgm:cxn modelId="{38F81A7A-A14F-4DD4-A689-5BCFA4A4E28A}" type="presParOf" srcId="{81A425CA-9844-4F68-929C-C0D34BC76C49}" destId="{FC740724-DC0A-4B2E-AFB2-20293F575508}" srcOrd="1" destOrd="0" presId="urn:microsoft.com/office/officeart/2005/8/layout/process4"/>
    <dgm:cxn modelId="{1EAA8863-5287-4246-B85C-6FAB0EB861B6}" type="presParOf" srcId="{81A425CA-9844-4F68-929C-C0D34BC76C49}" destId="{8A6F1A40-AF49-456E-A340-73745CF89ADA}" srcOrd="2" destOrd="0" presId="urn:microsoft.com/office/officeart/2005/8/layout/process4"/>
    <dgm:cxn modelId="{3FD809AF-4ABA-41CE-982D-79756EFEDEAA}" type="presParOf" srcId="{8A6F1A40-AF49-456E-A340-73745CF89ADA}" destId="{5062B3E6-012B-4A10-BE77-C1C64FC23777}" srcOrd="0" destOrd="0" presId="urn:microsoft.com/office/officeart/2005/8/layout/process4"/>
    <dgm:cxn modelId="{6B390CF5-B120-4B79-8FAA-E78337D6FC57}" type="presParOf" srcId="{81A425CA-9844-4F68-929C-C0D34BC76C49}" destId="{F1844149-D73C-4EAA-91B1-24BE5BA8DBA9}" srcOrd="3" destOrd="0" presId="urn:microsoft.com/office/officeart/2005/8/layout/process4"/>
    <dgm:cxn modelId="{516E1157-611A-4456-83B9-D5BACD20A475}" type="presParOf" srcId="{81A425CA-9844-4F68-929C-C0D34BC76C49}" destId="{E763D1D6-4A21-4A97-B4B8-ED916A515C96}" srcOrd="4" destOrd="0" presId="urn:microsoft.com/office/officeart/2005/8/layout/process4"/>
    <dgm:cxn modelId="{A3DE4C7B-CABE-4732-AA8F-9019E303B9BF}" type="presParOf" srcId="{E763D1D6-4A21-4A97-B4B8-ED916A515C96}" destId="{6CFA97FB-CDF9-430A-86AF-B3E4E659D292}" srcOrd="0" destOrd="0" presId="urn:microsoft.com/office/officeart/2005/8/layout/process4"/>
    <dgm:cxn modelId="{05B523D4-FB87-4F39-810B-56A252B7015B}" type="presParOf" srcId="{81A425CA-9844-4F68-929C-C0D34BC76C49}" destId="{92C885F7-260F-4AE3-BE3A-5A4CA66A08AE}" srcOrd="5" destOrd="0" presId="urn:microsoft.com/office/officeart/2005/8/layout/process4"/>
    <dgm:cxn modelId="{1651A0DB-48FE-4DD8-9EE2-E06C135C9B84}" type="presParOf" srcId="{81A425CA-9844-4F68-929C-C0D34BC76C49}" destId="{B8921173-8419-487B-855D-66EEE3B935E3}" srcOrd="6" destOrd="0" presId="urn:microsoft.com/office/officeart/2005/8/layout/process4"/>
    <dgm:cxn modelId="{FD4AA8EC-A9BB-4DCD-80BC-79377877EB84}" type="presParOf" srcId="{B8921173-8419-487B-855D-66EEE3B935E3}" destId="{CCE2A1CE-A13D-492D-9078-4FBF513A8365}" srcOrd="0" destOrd="0" presId="urn:microsoft.com/office/officeart/2005/8/layout/process4"/>
    <dgm:cxn modelId="{3459B4AC-8FD9-4F23-8F17-7D3667D88B2C}" type="presParOf" srcId="{81A425CA-9844-4F68-929C-C0D34BC76C49}" destId="{7F30F07C-FEE7-4AE6-A377-F4992FEBA7A0}" srcOrd="7" destOrd="0" presId="urn:microsoft.com/office/officeart/2005/8/layout/process4"/>
    <dgm:cxn modelId="{57E78DFD-6572-4D67-873D-FFDD569B7038}" type="presParOf" srcId="{81A425CA-9844-4F68-929C-C0D34BC76C49}" destId="{623AC462-C417-44DE-898F-50DCFD567C38}" srcOrd="8" destOrd="0" presId="urn:microsoft.com/office/officeart/2005/8/layout/process4"/>
    <dgm:cxn modelId="{27D16CDF-3CEA-43F5-BA92-B3B9F47F8DC1}" type="presParOf" srcId="{623AC462-C417-44DE-898F-50DCFD567C38}" destId="{32EFE6D1-9AF7-4D78-B394-002E38C95317}" srcOrd="0" destOrd="0" presId="urn:microsoft.com/office/officeart/2005/8/layout/process4"/>
    <dgm:cxn modelId="{DA6DA110-AFA3-435F-810F-2D5C8E9287B3}" type="presParOf" srcId="{81A425CA-9844-4F68-929C-C0D34BC76C49}" destId="{39BB4649-DB47-40C1-92AC-2EE9E85AF48A}" srcOrd="9" destOrd="0" presId="urn:microsoft.com/office/officeart/2005/8/layout/process4"/>
    <dgm:cxn modelId="{90EBFE68-BA29-454F-B4A2-DF46E05079B7}" type="presParOf" srcId="{81A425CA-9844-4F68-929C-C0D34BC76C49}" destId="{3AF77E8B-B492-4907-9833-F097C091EB00}" srcOrd="10" destOrd="0" presId="urn:microsoft.com/office/officeart/2005/8/layout/process4"/>
    <dgm:cxn modelId="{4206FF76-38FD-44C0-B828-AF68831EE195}" type="presParOf" srcId="{3AF77E8B-B492-4907-9833-F097C091EB00}" destId="{6C808396-61BE-4AF1-AFD3-182427FBD02F}"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6AF54-611B-4529-A8B5-F2BC127022E0}">
      <dsp:nvSpPr>
        <dsp:cNvPr id="0" name=""/>
        <dsp:cNvSpPr/>
      </dsp:nvSpPr>
      <dsp:spPr>
        <a:xfrm>
          <a:off x="0" y="7820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Data Subjects Rights and Handling of DSR Requests </a:t>
          </a:r>
        </a:p>
      </dsp:txBody>
      <dsp:txXfrm>
        <a:off x="21018" y="99225"/>
        <a:ext cx="9578386" cy="388524"/>
      </dsp:txXfrm>
    </dsp:sp>
    <dsp:sp modelId="{46A9AC13-1C95-4AA3-8A24-EF52D23D754C}">
      <dsp:nvSpPr>
        <dsp:cNvPr id="0" name=""/>
        <dsp:cNvSpPr/>
      </dsp:nvSpPr>
      <dsp:spPr>
        <a:xfrm>
          <a:off x="0" y="50876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 Article 4, 21, 9</a:t>
          </a:r>
        </a:p>
      </dsp:txBody>
      <dsp:txXfrm>
        <a:off x="0" y="508767"/>
        <a:ext cx="9620422" cy="380880"/>
      </dsp:txXfrm>
    </dsp:sp>
    <dsp:sp modelId="{81F35B60-7D12-44DF-B41C-BE232A445E33}">
      <dsp:nvSpPr>
        <dsp:cNvPr id="0" name=""/>
        <dsp:cNvSpPr/>
      </dsp:nvSpPr>
      <dsp:spPr>
        <a:xfrm>
          <a:off x="0" y="88964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Processing of Personal Data </a:t>
          </a:r>
        </a:p>
      </dsp:txBody>
      <dsp:txXfrm>
        <a:off x="21018" y="910665"/>
        <a:ext cx="9578386" cy="388524"/>
      </dsp:txXfrm>
    </dsp:sp>
    <dsp:sp modelId="{930585F5-9D73-4022-9449-6BA3EF658735}">
      <dsp:nvSpPr>
        <dsp:cNvPr id="0" name=""/>
        <dsp:cNvSpPr/>
      </dsp:nvSpPr>
      <dsp:spPr>
        <a:xfrm>
          <a:off x="0" y="132020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23, 24</a:t>
          </a:r>
        </a:p>
      </dsp:txBody>
      <dsp:txXfrm>
        <a:off x="0" y="1320207"/>
        <a:ext cx="9620422" cy="380880"/>
      </dsp:txXfrm>
    </dsp:sp>
    <dsp:sp modelId="{6F8C8A9C-4847-45AF-AD33-CBC2DA9AE4F2}">
      <dsp:nvSpPr>
        <dsp:cNvPr id="0" name=""/>
        <dsp:cNvSpPr/>
      </dsp:nvSpPr>
      <dsp:spPr>
        <a:xfrm>
          <a:off x="0" y="170108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Privacy Policy and Notices </a:t>
          </a:r>
        </a:p>
      </dsp:txBody>
      <dsp:txXfrm>
        <a:off x="21018" y="1722105"/>
        <a:ext cx="9578386" cy="388524"/>
      </dsp:txXfrm>
    </dsp:sp>
    <dsp:sp modelId="{0584C990-0725-490A-95CC-A0B5CD542249}">
      <dsp:nvSpPr>
        <dsp:cNvPr id="0" name=""/>
        <dsp:cNvSpPr/>
      </dsp:nvSpPr>
      <dsp:spPr>
        <a:xfrm>
          <a:off x="0" y="213164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11, 12, 13</a:t>
          </a:r>
        </a:p>
      </dsp:txBody>
      <dsp:txXfrm>
        <a:off x="0" y="2131647"/>
        <a:ext cx="9620422" cy="380880"/>
      </dsp:txXfrm>
    </dsp:sp>
    <dsp:sp modelId="{B96B3808-EFB7-449B-81CD-F5B427175689}">
      <dsp:nvSpPr>
        <dsp:cNvPr id="0" name=""/>
        <dsp:cNvSpPr/>
      </dsp:nvSpPr>
      <dsp:spPr>
        <a:xfrm>
          <a:off x="0" y="251252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Disclosure of Personal Data </a:t>
          </a:r>
        </a:p>
      </dsp:txBody>
      <dsp:txXfrm>
        <a:off x="21018" y="2533545"/>
        <a:ext cx="9578386" cy="388524"/>
      </dsp:txXfrm>
    </dsp:sp>
    <dsp:sp modelId="{D34F1DE8-0B0D-4DB1-A3FB-DF29EE8E5867}">
      <dsp:nvSpPr>
        <dsp:cNvPr id="0" name=""/>
        <dsp:cNvSpPr/>
      </dsp:nvSpPr>
      <dsp:spPr>
        <a:xfrm>
          <a:off x="0" y="294308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8, 15, 16, 17(1)</a:t>
          </a:r>
        </a:p>
      </dsp:txBody>
      <dsp:txXfrm>
        <a:off x="0" y="2943087"/>
        <a:ext cx="9620422" cy="380880"/>
      </dsp:txXfrm>
    </dsp:sp>
    <dsp:sp modelId="{F0B3BD30-CF76-4CFD-BE0E-3F534D9EB2BD}">
      <dsp:nvSpPr>
        <dsp:cNvPr id="0" name=""/>
        <dsp:cNvSpPr/>
      </dsp:nvSpPr>
      <dsp:spPr>
        <a:xfrm>
          <a:off x="0" y="332396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Destruction and Retention of Personal Data </a:t>
          </a:r>
        </a:p>
      </dsp:txBody>
      <dsp:txXfrm>
        <a:off x="21018" y="3344985"/>
        <a:ext cx="9578386" cy="388524"/>
      </dsp:txXfrm>
    </dsp:sp>
    <dsp:sp modelId="{EC2E72D9-5CEE-40C9-B490-D70A8A72127A}">
      <dsp:nvSpPr>
        <dsp:cNvPr id="0" name=""/>
        <dsp:cNvSpPr/>
      </dsp:nvSpPr>
      <dsp:spPr>
        <a:xfrm>
          <a:off x="0" y="375452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18</a:t>
          </a:r>
        </a:p>
      </dsp:txBody>
      <dsp:txXfrm>
        <a:off x="0" y="3754527"/>
        <a:ext cx="9620422" cy="380880"/>
      </dsp:txXfrm>
    </dsp:sp>
    <dsp:sp modelId="{05E7826D-5E82-40B8-B8EE-15D996C26F67}">
      <dsp:nvSpPr>
        <dsp:cNvPr id="0" name=""/>
        <dsp:cNvSpPr/>
      </dsp:nvSpPr>
      <dsp:spPr>
        <a:xfrm>
          <a:off x="0" y="413540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Measures for protection of personal data </a:t>
          </a:r>
        </a:p>
      </dsp:txBody>
      <dsp:txXfrm>
        <a:off x="21018" y="4156425"/>
        <a:ext cx="9578386" cy="388524"/>
      </dsp:txXfrm>
    </dsp:sp>
    <dsp:sp modelId="{7579C9D1-AE4F-4DC8-B914-6FDF06682270}">
      <dsp:nvSpPr>
        <dsp:cNvPr id="0" name=""/>
        <dsp:cNvSpPr/>
      </dsp:nvSpPr>
      <dsp:spPr>
        <a:xfrm>
          <a:off x="0" y="456596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11, 19, 28, 41</a:t>
          </a:r>
        </a:p>
      </dsp:txBody>
      <dsp:txXfrm>
        <a:off x="0" y="4565967"/>
        <a:ext cx="9620422" cy="380880"/>
      </dsp:txXfrm>
    </dsp:sp>
    <dsp:sp modelId="{C4C40E9E-F000-4AD3-B230-038938F557E7}">
      <dsp:nvSpPr>
        <dsp:cNvPr id="0" name=""/>
        <dsp:cNvSpPr/>
      </dsp:nvSpPr>
      <dsp:spPr>
        <a:xfrm>
          <a:off x="0" y="494684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Data Breach Notification </a:t>
          </a:r>
        </a:p>
      </dsp:txBody>
      <dsp:txXfrm>
        <a:off x="21018" y="4967865"/>
        <a:ext cx="9578386" cy="388524"/>
      </dsp:txXfrm>
    </dsp:sp>
    <dsp:sp modelId="{7724B1EA-B460-4FE5-A129-B019CED3C08E}">
      <dsp:nvSpPr>
        <dsp:cNvPr id="0" name=""/>
        <dsp:cNvSpPr/>
      </dsp:nvSpPr>
      <dsp:spPr>
        <a:xfrm>
          <a:off x="0" y="537740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20</a:t>
          </a:r>
        </a:p>
      </dsp:txBody>
      <dsp:txXfrm>
        <a:off x="0" y="5377407"/>
        <a:ext cx="9620422" cy="380880"/>
      </dsp:txXfrm>
    </dsp:sp>
    <dsp:sp modelId="{2D3C8777-3151-45A8-B3B5-5C383A91ED96}">
      <dsp:nvSpPr>
        <dsp:cNvPr id="0" name=""/>
        <dsp:cNvSpPr/>
      </dsp:nvSpPr>
      <dsp:spPr>
        <a:xfrm>
          <a:off x="0" y="575828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Data Protection Impact Assessment</a:t>
          </a:r>
        </a:p>
      </dsp:txBody>
      <dsp:txXfrm>
        <a:off x="21018" y="5779305"/>
        <a:ext cx="9578386" cy="388524"/>
      </dsp:txXfrm>
    </dsp:sp>
    <dsp:sp modelId="{147861C4-541F-4BFB-ACE0-5F693C3FFB2A}">
      <dsp:nvSpPr>
        <dsp:cNvPr id="0" name=""/>
        <dsp:cNvSpPr/>
      </dsp:nvSpPr>
      <dsp:spPr>
        <a:xfrm>
          <a:off x="0" y="618884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22</a:t>
          </a:r>
        </a:p>
      </dsp:txBody>
      <dsp:txXfrm>
        <a:off x="0" y="6188847"/>
        <a:ext cx="9620422" cy="3808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6AF54-611B-4529-A8B5-F2BC127022E0}">
      <dsp:nvSpPr>
        <dsp:cNvPr id="0" name=""/>
        <dsp:cNvSpPr/>
      </dsp:nvSpPr>
      <dsp:spPr>
        <a:xfrm>
          <a:off x="0" y="7820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Training and awareness of data subjects </a:t>
          </a:r>
        </a:p>
      </dsp:txBody>
      <dsp:txXfrm>
        <a:off x="21018" y="99225"/>
        <a:ext cx="9578386" cy="388524"/>
      </dsp:txXfrm>
    </dsp:sp>
    <dsp:sp modelId="{46A9AC13-1C95-4AA3-8A24-EF52D23D754C}">
      <dsp:nvSpPr>
        <dsp:cNvPr id="0" name=""/>
        <dsp:cNvSpPr/>
      </dsp:nvSpPr>
      <dsp:spPr>
        <a:xfrm>
          <a:off x="0" y="50876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 Article 25</a:t>
          </a:r>
        </a:p>
      </dsp:txBody>
      <dsp:txXfrm>
        <a:off x="0" y="508767"/>
        <a:ext cx="9620422" cy="380880"/>
      </dsp:txXfrm>
    </dsp:sp>
    <dsp:sp modelId="{81F35B60-7D12-44DF-B41C-BE232A445E33}">
      <dsp:nvSpPr>
        <dsp:cNvPr id="0" name=""/>
        <dsp:cNvSpPr/>
      </dsp:nvSpPr>
      <dsp:spPr>
        <a:xfrm>
          <a:off x="0" y="88964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Consent</a:t>
          </a:r>
        </a:p>
      </dsp:txBody>
      <dsp:txXfrm>
        <a:off x="21018" y="910665"/>
        <a:ext cx="9578386" cy="388524"/>
      </dsp:txXfrm>
    </dsp:sp>
    <dsp:sp modelId="{930585F5-9D73-4022-9449-6BA3EF658735}">
      <dsp:nvSpPr>
        <dsp:cNvPr id="0" name=""/>
        <dsp:cNvSpPr/>
      </dsp:nvSpPr>
      <dsp:spPr>
        <a:xfrm>
          <a:off x="0" y="132020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5, 6, 10, 14, 17, 26, 27</a:t>
          </a:r>
        </a:p>
      </dsp:txBody>
      <dsp:txXfrm>
        <a:off x="0" y="1320207"/>
        <a:ext cx="9620422" cy="380880"/>
      </dsp:txXfrm>
    </dsp:sp>
    <dsp:sp modelId="{6F8C8A9C-4847-45AF-AD33-CBC2DA9AE4F2}">
      <dsp:nvSpPr>
        <dsp:cNvPr id="0" name=""/>
        <dsp:cNvSpPr/>
      </dsp:nvSpPr>
      <dsp:spPr>
        <a:xfrm>
          <a:off x="0" y="170108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Transfer of personal data outside the Kingdom </a:t>
          </a:r>
        </a:p>
      </dsp:txBody>
      <dsp:txXfrm>
        <a:off x="21018" y="1722105"/>
        <a:ext cx="9578386" cy="388524"/>
      </dsp:txXfrm>
    </dsp:sp>
    <dsp:sp modelId="{0584C990-0725-490A-95CC-A0B5CD542249}">
      <dsp:nvSpPr>
        <dsp:cNvPr id="0" name=""/>
        <dsp:cNvSpPr/>
      </dsp:nvSpPr>
      <dsp:spPr>
        <a:xfrm>
          <a:off x="0" y="213164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29</a:t>
          </a:r>
        </a:p>
      </dsp:txBody>
      <dsp:txXfrm>
        <a:off x="0" y="2131647"/>
        <a:ext cx="9620422" cy="380880"/>
      </dsp:txXfrm>
    </dsp:sp>
    <dsp:sp modelId="{B96B3808-EFB7-449B-81CD-F5B427175689}">
      <dsp:nvSpPr>
        <dsp:cNvPr id="0" name=""/>
        <dsp:cNvSpPr/>
      </dsp:nvSpPr>
      <dsp:spPr>
        <a:xfrm>
          <a:off x="0" y="251252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Compliance</a:t>
          </a:r>
        </a:p>
      </dsp:txBody>
      <dsp:txXfrm>
        <a:off x="21018" y="2533545"/>
        <a:ext cx="9578386" cy="388524"/>
      </dsp:txXfrm>
    </dsp:sp>
    <dsp:sp modelId="{D34F1DE8-0B0D-4DB1-A3FB-DF29EE8E5867}">
      <dsp:nvSpPr>
        <dsp:cNvPr id="0" name=""/>
        <dsp:cNvSpPr/>
      </dsp:nvSpPr>
      <dsp:spPr>
        <a:xfrm>
          <a:off x="0" y="294308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30, 33</a:t>
          </a:r>
        </a:p>
      </dsp:txBody>
      <dsp:txXfrm>
        <a:off x="0" y="2943087"/>
        <a:ext cx="9620422" cy="380880"/>
      </dsp:txXfrm>
    </dsp:sp>
    <dsp:sp modelId="{F0B3BD30-CF76-4CFD-BE0E-3F534D9EB2BD}">
      <dsp:nvSpPr>
        <dsp:cNvPr id="0" name=""/>
        <dsp:cNvSpPr/>
      </dsp:nvSpPr>
      <dsp:spPr>
        <a:xfrm>
          <a:off x="0" y="332396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Data Protection Officer</a:t>
          </a:r>
        </a:p>
      </dsp:txBody>
      <dsp:txXfrm>
        <a:off x="21018" y="3344985"/>
        <a:ext cx="9578386" cy="388524"/>
      </dsp:txXfrm>
    </dsp:sp>
    <dsp:sp modelId="{EC2E72D9-5CEE-40C9-B490-D70A8A72127A}">
      <dsp:nvSpPr>
        <dsp:cNvPr id="0" name=""/>
        <dsp:cNvSpPr/>
      </dsp:nvSpPr>
      <dsp:spPr>
        <a:xfrm>
          <a:off x="0" y="375452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30(2)</a:t>
          </a:r>
        </a:p>
      </dsp:txBody>
      <dsp:txXfrm>
        <a:off x="0" y="3754527"/>
        <a:ext cx="9620422" cy="380880"/>
      </dsp:txXfrm>
    </dsp:sp>
    <dsp:sp modelId="{05E7826D-5E82-40B8-B8EE-15D996C26F67}">
      <dsp:nvSpPr>
        <dsp:cNvPr id="0" name=""/>
        <dsp:cNvSpPr/>
      </dsp:nvSpPr>
      <dsp:spPr>
        <a:xfrm>
          <a:off x="0" y="413540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Record of Processing Activities (RoPA)</a:t>
          </a:r>
        </a:p>
      </dsp:txBody>
      <dsp:txXfrm>
        <a:off x="21018" y="4156425"/>
        <a:ext cx="9578386" cy="388524"/>
      </dsp:txXfrm>
    </dsp:sp>
    <dsp:sp modelId="{7579C9D1-AE4F-4DC8-B914-6FDF06682270}">
      <dsp:nvSpPr>
        <dsp:cNvPr id="0" name=""/>
        <dsp:cNvSpPr/>
      </dsp:nvSpPr>
      <dsp:spPr>
        <a:xfrm>
          <a:off x="0" y="456596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31</a:t>
          </a:r>
        </a:p>
      </dsp:txBody>
      <dsp:txXfrm>
        <a:off x="0" y="4565967"/>
        <a:ext cx="9620422" cy="380880"/>
      </dsp:txXfrm>
    </dsp:sp>
    <dsp:sp modelId="{C4C40E9E-F000-4AD3-B230-038938F557E7}">
      <dsp:nvSpPr>
        <dsp:cNvPr id="0" name=""/>
        <dsp:cNvSpPr/>
      </dsp:nvSpPr>
      <dsp:spPr>
        <a:xfrm>
          <a:off x="0" y="494684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Employee Disciplinary Process  </a:t>
          </a:r>
        </a:p>
      </dsp:txBody>
      <dsp:txXfrm>
        <a:off x="21018" y="4967865"/>
        <a:ext cx="9578386" cy="388524"/>
      </dsp:txXfrm>
    </dsp:sp>
    <dsp:sp modelId="{7724B1EA-B460-4FE5-A129-B019CED3C08E}">
      <dsp:nvSpPr>
        <dsp:cNvPr id="0" name=""/>
        <dsp:cNvSpPr/>
      </dsp:nvSpPr>
      <dsp:spPr>
        <a:xfrm>
          <a:off x="0" y="537740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39</a:t>
          </a:r>
        </a:p>
      </dsp:txBody>
      <dsp:txXfrm>
        <a:off x="0" y="5377407"/>
        <a:ext cx="9620422" cy="380880"/>
      </dsp:txXfrm>
    </dsp:sp>
    <dsp:sp modelId="{2D3C8777-3151-45A8-B3B5-5C383A91ED96}">
      <dsp:nvSpPr>
        <dsp:cNvPr id="0" name=""/>
        <dsp:cNvSpPr/>
      </dsp:nvSpPr>
      <dsp:spPr>
        <a:xfrm>
          <a:off x="0" y="5758287"/>
          <a:ext cx="9620422" cy="4305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Penalties and Violations to the Law</a:t>
          </a:r>
        </a:p>
      </dsp:txBody>
      <dsp:txXfrm>
        <a:off x="21018" y="5779305"/>
        <a:ext cx="9578386" cy="388524"/>
      </dsp:txXfrm>
    </dsp:sp>
    <dsp:sp modelId="{147861C4-541F-4BFB-ACE0-5F693C3FFB2A}">
      <dsp:nvSpPr>
        <dsp:cNvPr id="0" name=""/>
        <dsp:cNvSpPr/>
      </dsp:nvSpPr>
      <dsp:spPr>
        <a:xfrm>
          <a:off x="0" y="6188847"/>
          <a:ext cx="9620422"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44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rticle 35, 36, 37, 38</a:t>
          </a:r>
        </a:p>
      </dsp:txBody>
      <dsp:txXfrm>
        <a:off x="0" y="6188847"/>
        <a:ext cx="9620422" cy="3808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1D3DF4-CF0C-4D54-B8BD-159EA6629EE1}">
      <dsp:nvSpPr>
        <dsp:cNvPr id="0" name=""/>
        <dsp:cNvSpPr/>
      </dsp:nvSpPr>
      <dsp:spPr>
        <a:xfrm>
          <a:off x="0" y="69813"/>
          <a:ext cx="8128000" cy="44928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Compliance Monitoring Procedure</a:t>
          </a:r>
        </a:p>
      </dsp:txBody>
      <dsp:txXfrm>
        <a:off x="21932" y="91745"/>
        <a:ext cx="8084136" cy="405416"/>
      </dsp:txXfrm>
    </dsp:sp>
    <dsp:sp modelId="{44F611A4-B666-4ECF-A391-FF774917FE2B}">
      <dsp:nvSpPr>
        <dsp:cNvPr id="0" name=""/>
        <dsp:cNvSpPr/>
      </dsp:nvSpPr>
      <dsp:spPr>
        <a:xfrm>
          <a:off x="0" y="519093"/>
          <a:ext cx="8128000"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Ensures continuous oversight and assessment of PDPL compliance.</a:t>
          </a:r>
        </a:p>
      </dsp:txBody>
      <dsp:txXfrm>
        <a:off x="0" y="519093"/>
        <a:ext cx="8128000" cy="397440"/>
      </dsp:txXfrm>
    </dsp:sp>
    <dsp:sp modelId="{631FA0B5-2DAF-4A03-A6D3-02A1869B3101}">
      <dsp:nvSpPr>
        <dsp:cNvPr id="0" name=""/>
        <dsp:cNvSpPr/>
      </dsp:nvSpPr>
      <dsp:spPr>
        <a:xfrm>
          <a:off x="0" y="916533"/>
          <a:ext cx="8128000" cy="44928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Consent Management Procedure</a:t>
          </a:r>
        </a:p>
      </dsp:txBody>
      <dsp:txXfrm>
        <a:off x="21932" y="938465"/>
        <a:ext cx="8084136" cy="405416"/>
      </dsp:txXfrm>
    </dsp:sp>
    <dsp:sp modelId="{5B8C7A00-576C-4467-9F54-9F9E4B6FC0E8}">
      <dsp:nvSpPr>
        <dsp:cNvPr id="0" name=""/>
        <dsp:cNvSpPr/>
      </dsp:nvSpPr>
      <dsp:spPr>
        <a:xfrm>
          <a:off x="0" y="1365813"/>
          <a:ext cx="8128000"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Guides the collection, management, and documentation of data subject consent.</a:t>
          </a:r>
        </a:p>
      </dsp:txBody>
      <dsp:txXfrm>
        <a:off x="0" y="1365813"/>
        <a:ext cx="8128000" cy="397440"/>
      </dsp:txXfrm>
    </dsp:sp>
    <dsp:sp modelId="{CC7002E9-D234-4A9E-A199-3519EE6CB98C}">
      <dsp:nvSpPr>
        <dsp:cNvPr id="0" name=""/>
        <dsp:cNvSpPr/>
      </dsp:nvSpPr>
      <dsp:spPr>
        <a:xfrm>
          <a:off x="0" y="1763253"/>
          <a:ext cx="8128000" cy="44928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Cross-Border Data Transfer Procedure</a:t>
          </a:r>
        </a:p>
      </dsp:txBody>
      <dsp:txXfrm>
        <a:off x="21932" y="1785185"/>
        <a:ext cx="8084136" cy="405416"/>
      </dsp:txXfrm>
    </dsp:sp>
    <dsp:sp modelId="{CBC926B7-F776-4C47-B700-65FA983F1CAE}">
      <dsp:nvSpPr>
        <dsp:cNvPr id="0" name=""/>
        <dsp:cNvSpPr/>
      </dsp:nvSpPr>
      <dsp:spPr>
        <a:xfrm>
          <a:off x="0" y="2212533"/>
          <a:ext cx="8128000"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Establishes controls for secure and lawful data transfers outside the Kingdom.</a:t>
          </a:r>
        </a:p>
      </dsp:txBody>
      <dsp:txXfrm>
        <a:off x="0" y="2212533"/>
        <a:ext cx="8128000" cy="397440"/>
      </dsp:txXfrm>
    </dsp:sp>
    <dsp:sp modelId="{E97E31EE-F625-4ABF-B2DA-9AD2FFDB9E43}">
      <dsp:nvSpPr>
        <dsp:cNvPr id="0" name=""/>
        <dsp:cNvSpPr/>
      </dsp:nvSpPr>
      <dsp:spPr>
        <a:xfrm>
          <a:off x="0" y="2609973"/>
          <a:ext cx="8128000" cy="44928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Data Protection Governance Framework</a:t>
          </a:r>
        </a:p>
      </dsp:txBody>
      <dsp:txXfrm>
        <a:off x="21932" y="2631905"/>
        <a:ext cx="8084136" cy="405416"/>
      </dsp:txXfrm>
    </dsp:sp>
    <dsp:sp modelId="{BEFE32DC-03E3-4D08-AC02-FFBE4DE432C6}">
      <dsp:nvSpPr>
        <dsp:cNvPr id="0" name=""/>
        <dsp:cNvSpPr/>
      </dsp:nvSpPr>
      <dsp:spPr>
        <a:xfrm>
          <a:off x="0" y="3059253"/>
          <a:ext cx="8128000"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Defines roles, responsibilities, and accountability for data protection within the organization.</a:t>
          </a:r>
        </a:p>
      </dsp:txBody>
      <dsp:txXfrm>
        <a:off x="0" y="3059253"/>
        <a:ext cx="8128000" cy="496800"/>
      </dsp:txXfrm>
    </dsp:sp>
    <dsp:sp modelId="{D2401DC5-A800-4EAB-AF15-15F3AB1208C0}">
      <dsp:nvSpPr>
        <dsp:cNvPr id="0" name=""/>
        <dsp:cNvSpPr/>
      </dsp:nvSpPr>
      <dsp:spPr>
        <a:xfrm>
          <a:off x="0" y="3556053"/>
          <a:ext cx="8128000" cy="44928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Data Protection Impact Assessment (DPIA) Methodology</a:t>
          </a:r>
        </a:p>
      </dsp:txBody>
      <dsp:txXfrm>
        <a:off x="21932" y="3577985"/>
        <a:ext cx="8084136" cy="405416"/>
      </dsp:txXfrm>
    </dsp:sp>
    <dsp:sp modelId="{93C8CCE0-1F9D-4B9B-BF06-EDBAE033B411}">
      <dsp:nvSpPr>
        <dsp:cNvPr id="0" name=""/>
        <dsp:cNvSpPr/>
      </dsp:nvSpPr>
      <dsp:spPr>
        <a:xfrm>
          <a:off x="0" y="4005333"/>
          <a:ext cx="8128000"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Provides a structured approach to identifying and mitigating risks related to personal data processing.</a:t>
          </a:r>
        </a:p>
      </dsp:txBody>
      <dsp:txXfrm>
        <a:off x="0" y="4005333"/>
        <a:ext cx="8128000" cy="496800"/>
      </dsp:txXfrm>
    </dsp:sp>
    <dsp:sp modelId="{F9E3158A-975D-4804-A40C-196D7312D68E}">
      <dsp:nvSpPr>
        <dsp:cNvPr id="0" name=""/>
        <dsp:cNvSpPr/>
      </dsp:nvSpPr>
      <dsp:spPr>
        <a:xfrm>
          <a:off x="0" y="4502133"/>
          <a:ext cx="8128000" cy="44928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Data Protection Policy</a:t>
          </a:r>
        </a:p>
      </dsp:txBody>
      <dsp:txXfrm>
        <a:off x="21932" y="4524065"/>
        <a:ext cx="8084136" cy="405416"/>
      </dsp:txXfrm>
    </dsp:sp>
    <dsp:sp modelId="{F8BDDB02-5533-4C50-981F-0A371D8F0E7E}">
      <dsp:nvSpPr>
        <dsp:cNvPr id="0" name=""/>
        <dsp:cNvSpPr/>
      </dsp:nvSpPr>
      <dsp:spPr>
        <a:xfrm>
          <a:off x="0" y="4951413"/>
          <a:ext cx="8128000"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Outlines the organization’s commitment and approach to data protection.</a:t>
          </a:r>
        </a:p>
      </dsp:txBody>
      <dsp:txXfrm>
        <a:off x="0" y="4951413"/>
        <a:ext cx="8128000" cy="3974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1D3DF4-CF0C-4D54-B8BD-159EA6629EE1}">
      <dsp:nvSpPr>
        <dsp:cNvPr id="0" name=""/>
        <dsp:cNvSpPr/>
      </dsp:nvSpPr>
      <dsp:spPr>
        <a:xfrm>
          <a:off x="0" y="7207"/>
          <a:ext cx="8128000" cy="43056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Data Subject Rights Procedure</a:t>
          </a:r>
        </a:p>
      </dsp:txBody>
      <dsp:txXfrm>
        <a:off x="21018" y="28225"/>
        <a:ext cx="8085964" cy="388524"/>
      </dsp:txXfrm>
    </dsp:sp>
    <dsp:sp modelId="{44F611A4-B666-4ECF-A391-FF774917FE2B}">
      <dsp:nvSpPr>
        <dsp:cNvPr id="0" name=""/>
        <dsp:cNvSpPr/>
      </dsp:nvSpPr>
      <dsp:spPr>
        <a:xfrm>
          <a:off x="0" y="437767"/>
          <a:ext cx="8128000" cy="4880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Details the processes for responding to data subject rights requests, such as access, rectification, and erasure.</a:t>
          </a:r>
        </a:p>
      </dsp:txBody>
      <dsp:txXfrm>
        <a:off x="0" y="437767"/>
        <a:ext cx="8128000" cy="488002"/>
      </dsp:txXfrm>
    </dsp:sp>
    <dsp:sp modelId="{631FA0B5-2DAF-4A03-A6D3-02A1869B3101}">
      <dsp:nvSpPr>
        <dsp:cNvPr id="0" name=""/>
        <dsp:cNvSpPr/>
      </dsp:nvSpPr>
      <dsp:spPr>
        <a:xfrm>
          <a:off x="0" y="925769"/>
          <a:ext cx="8128000" cy="43056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Personal Data Breach Notification Procedure</a:t>
          </a:r>
        </a:p>
      </dsp:txBody>
      <dsp:txXfrm>
        <a:off x="21018" y="946787"/>
        <a:ext cx="8085964" cy="388524"/>
      </dsp:txXfrm>
    </dsp:sp>
    <dsp:sp modelId="{5B8C7A00-576C-4467-9F54-9F9E4B6FC0E8}">
      <dsp:nvSpPr>
        <dsp:cNvPr id="0" name=""/>
        <dsp:cNvSpPr/>
      </dsp:nvSpPr>
      <dsp:spPr>
        <a:xfrm>
          <a:off x="0" y="1356329"/>
          <a:ext cx="8128000" cy="4880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Ensures timely and effective management of data breaches in compliance with PDPL requirements.</a:t>
          </a:r>
        </a:p>
      </dsp:txBody>
      <dsp:txXfrm>
        <a:off x="0" y="1356329"/>
        <a:ext cx="8128000" cy="488002"/>
      </dsp:txXfrm>
    </dsp:sp>
    <dsp:sp modelId="{CC7002E9-D234-4A9E-A199-3519EE6CB98C}">
      <dsp:nvSpPr>
        <dsp:cNvPr id="0" name=""/>
        <dsp:cNvSpPr/>
      </dsp:nvSpPr>
      <dsp:spPr>
        <a:xfrm>
          <a:off x="0" y="1844332"/>
          <a:ext cx="8128000" cy="43056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Personal Data Breach Notification Template</a:t>
          </a:r>
        </a:p>
      </dsp:txBody>
      <dsp:txXfrm>
        <a:off x="21018" y="1865350"/>
        <a:ext cx="8085964" cy="388524"/>
      </dsp:txXfrm>
    </dsp:sp>
    <dsp:sp modelId="{CBC926B7-F776-4C47-B700-65FA983F1CAE}">
      <dsp:nvSpPr>
        <dsp:cNvPr id="0" name=""/>
        <dsp:cNvSpPr/>
      </dsp:nvSpPr>
      <dsp:spPr>
        <a:xfrm>
          <a:off x="0" y="2274892"/>
          <a:ext cx="8128000" cy="4880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 ready-to-use template for notifying the regulatory authority and affected parties of data breaches.</a:t>
          </a:r>
        </a:p>
      </dsp:txBody>
      <dsp:txXfrm>
        <a:off x="0" y="2274892"/>
        <a:ext cx="8128000" cy="488002"/>
      </dsp:txXfrm>
    </dsp:sp>
    <dsp:sp modelId="{E97E31EE-F625-4ABF-B2DA-9AD2FFDB9E43}">
      <dsp:nvSpPr>
        <dsp:cNvPr id="0" name=""/>
        <dsp:cNvSpPr/>
      </dsp:nvSpPr>
      <dsp:spPr>
        <a:xfrm>
          <a:off x="0" y="2762894"/>
          <a:ext cx="8128000" cy="43056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Privacy Notice</a:t>
          </a:r>
        </a:p>
      </dsp:txBody>
      <dsp:txXfrm>
        <a:off x="21018" y="2783912"/>
        <a:ext cx="8085964" cy="388524"/>
      </dsp:txXfrm>
    </dsp:sp>
    <dsp:sp modelId="{BEFE32DC-03E3-4D08-AC02-FFBE4DE432C6}">
      <dsp:nvSpPr>
        <dsp:cNvPr id="0" name=""/>
        <dsp:cNvSpPr/>
      </dsp:nvSpPr>
      <dsp:spPr>
        <a:xfrm>
          <a:off x="0" y="3193454"/>
          <a:ext cx="8128000" cy="4880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 concise and transparent statement for data subjects about how their personal data is collected, used, and protected.</a:t>
          </a:r>
        </a:p>
      </dsp:txBody>
      <dsp:txXfrm>
        <a:off x="0" y="3193454"/>
        <a:ext cx="8128000" cy="488002"/>
      </dsp:txXfrm>
    </dsp:sp>
    <dsp:sp modelId="{D2401DC5-A800-4EAB-AF15-15F3AB1208C0}">
      <dsp:nvSpPr>
        <dsp:cNvPr id="0" name=""/>
        <dsp:cNvSpPr/>
      </dsp:nvSpPr>
      <dsp:spPr>
        <a:xfrm>
          <a:off x="0" y="3681457"/>
          <a:ext cx="8128000" cy="43056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Privacy Policy</a:t>
          </a:r>
        </a:p>
      </dsp:txBody>
      <dsp:txXfrm>
        <a:off x="21018" y="3702475"/>
        <a:ext cx="8085964" cy="388524"/>
      </dsp:txXfrm>
    </dsp:sp>
    <dsp:sp modelId="{93C8CCE0-1F9D-4B9B-BF06-EDBAE033B411}">
      <dsp:nvSpPr>
        <dsp:cNvPr id="0" name=""/>
        <dsp:cNvSpPr/>
      </dsp:nvSpPr>
      <dsp:spPr>
        <a:xfrm>
          <a:off x="0" y="4112017"/>
          <a:ext cx="8128000" cy="4880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A detailed document outlining the organization’s practices and measures for safeguarding personal data.</a:t>
          </a:r>
        </a:p>
      </dsp:txBody>
      <dsp:txXfrm>
        <a:off x="0" y="4112017"/>
        <a:ext cx="8128000" cy="488002"/>
      </dsp:txXfrm>
    </dsp:sp>
    <dsp:sp modelId="{F9E3158A-975D-4804-A40C-196D7312D68E}">
      <dsp:nvSpPr>
        <dsp:cNvPr id="0" name=""/>
        <dsp:cNvSpPr/>
      </dsp:nvSpPr>
      <dsp:spPr>
        <a:xfrm>
          <a:off x="0" y="4600019"/>
          <a:ext cx="8128000" cy="430560"/>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solidFill>
            </a:rPr>
            <a:t>Third-Party Data Sharing and Disclosure Procedure</a:t>
          </a:r>
        </a:p>
      </dsp:txBody>
      <dsp:txXfrm>
        <a:off x="21018" y="4621037"/>
        <a:ext cx="8085964" cy="388524"/>
      </dsp:txXfrm>
    </dsp:sp>
    <dsp:sp modelId="{F8BDDB02-5533-4C50-981F-0A371D8F0E7E}">
      <dsp:nvSpPr>
        <dsp:cNvPr id="0" name=""/>
        <dsp:cNvSpPr/>
      </dsp:nvSpPr>
      <dsp:spPr>
        <a:xfrm>
          <a:off x="0" y="5030579"/>
          <a:ext cx="8128000"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t>Establishes guidelines for managing and documenting data sharing with third parties.</a:t>
          </a:r>
        </a:p>
      </dsp:txBody>
      <dsp:txXfrm>
        <a:off x="0" y="5030579"/>
        <a:ext cx="8128000" cy="3808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5C1EA1-963D-4B45-B0BD-C564AFCCEEEF}">
      <dsp:nvSpPr>
        <dsp:cNvPr id="0" name=""/>
        <dsp:cNvSpPr/>
      </dsp:nvSpPr>
      <dsp:spPr>
        <a:xfrm>
          <a:off x="0" y="3171235"/>
          <a:ext cx="7884544" cy="416222"/>
        </a:xfrm>
        <a:prstGeom prst="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AU" sz="1800" b="1" kern="1200"/>
            <a:t>Plan of </a:t>
          </a:r>
          <a:r>
            <a:rPr lang="en-AU" sz="1800" b="1" kern="1200">
              <a:latin typeface="Calibri"/>
            </a:rPr>
            <a:t>Action</a:t>
          </a:r>
          <a:endParaRPr lang="en-AU" sz="1800" b="1" kern="1200"/>
        </a:p>
      </dsp:txBody>
      <dsp:txXfrm>
        <a:off x="0" y="3171235"/>
        <a:ext cx="7884544" cy="416222"/>
      </dsp:txXfrm>
    </dsp:sp>
    <dsp:sp modelId="{5062B3E6-012B-4A10-BE77-C1C64FC23777}">
      <dsp:nvSpPr>
        <dsp:cNvPr id="0" name=""/>
        <dsp:cNvSpPr/>
      </dsp:nvSpPr>
      <dsp:spPr>
        <a:xfrm rot="10800000">
          <a:off x="0" y="2537327"/>
          <a:ext cx="7884544" cy="640150"/>
        </a:xfrm>
        <a:prstGeom prst="upArrowCallout">
          <a:avLst/>
        </a:prstGeom>
        <a:solidFill>
          <a:schemeClr val="accent2">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AU" sz="1800" b="1" kern="1200"/>
            <a:t>Evaluation of the </a:t>
          </a:r>
          <a:r>
            <a:rPr lang="en-AU" sz="1800" b="1" kern="1200">
              <a:latin typeface="Calibri"/>
            </a:rPr>
            <a:t>Compliance</a:t>
          </a:r>
          <a:r>
            <a:rPr lang="en-AU" sz="1800" b="1" kern="1200"/>
            <a:t> with </a:t>
          </a:r>
          <a:r>
            <a:rPr lang="en-AU" sz="1800" b="1" kern="1200">
              <a:latin typeface="Calibri"/>
            </a:rPr>
            <a:t>Legal</a:t>
          </a:r>
          <a:r>
            <a:rPr lang="en-AU" sz="1800" b="1" kern="1200"/>
            <a:t> </a:t>
          </a:r>
          <a:r>
            <a:rPr lang="en-AU" sz="1800" b="1" kern="1200">
              <a:latin typeface="Calibri"/>
            </a:rPr>
            <a:t>Requirements</a:t>
          </a:r>
          <a:endParaRPr lang="en-AU" sz="1800" b="1" kern="1200"/>
        </a:p>
      </dsp:txBody>
      <dsp:txXfrm rot="10800000">
        <a:off x="0" y="2537327"/>
        <a:ext cx="7884544" cy="415950"/>
      </dsp:txXfrm>
    </dsp:sp>
    <dsp:sp modelId="{6CFA97FB-CDF9-430A-86AF-B3E4E659D292}">
      <dsp:nvSpPr>
        <dsp:cNvPr id="0" name=""/>
        <dsp:cNvSpPr/>
      </dsp:nvSpPr>
      <dsp:spPr>
        <a:xfrm rot="10800000">
          <a:off x="0" y="1903420"/>
          <a:ext cx="7884544" cy="640150"/>
        </a:xfrm>
        <a:prstGeom prst="upArrowCallou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AU" sz="1800" b="1" kern="1200"/>
            <a:t>Solutions for </a:t>
          </a:r>
          <a:r>
            <a:rPr lang="en-AU" sz="1800" b="1" kern="1200">
              <a:latin typeface="Calibri"/>
            </a:rPr>
            <a:t>Addressing</a:t>
          </a:r>
          <a:r>
            <a:rPr lang="en-AU" sz="1800" b="1" kern="1200"/>
            <a:t> the </a:t>
          </a:r>
          <a:r>
            <a:rPr lang="en-AU" sz="1800" b="1" kern="1200">
              <a:latin typeface="Calibri"/>
            </a:rPr>
            <a:t>Risks</a:t>
          </a:r>
          <a:endParaRPr lang="en-AU" sz="1800" b="1" kern="1200"/>
        </a:p>
      </dsp:txBody>
      <dsp:txXfrm rot="10800000">
        <a:off x="0" y="1903420"/>
        <a:ext cx="7884544" cy="415950"/>
      </dsp:txXfrm>
    </dsp:sp>
    <dsp:sp modelId="{CCE2A1CE-A13D-492D-9078-4FBF513A8365}">
      <dsp:nvSpPr>
        <dsp:cNvPr id="0" name=""/>
        <dsp:cNvSpPr/>
      </dsp:nvSpPr>
      <dsp:spPr>
        <a:xfrm rot="10800000">
          <a:off x="0" y="1269512"/>
          <a:ext cx="7884544" cy="640150"/>
        </a:xfrm>
        <a:prstGeom prst="upArrowCallout">
          <a:avLst/>
        </a:prstGeom>
        <a:solidFill>
          <a:srgbClr val="6CA62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AU" sz="1800" b="1" kern="1200"/>
            <a:t>Identification of </a:t>
          </a:r>
          <a:r>
            <a:rPr lang="en-AU" sz="1800" b="1" kern="1200">
              <a:latin typeface="Calibri"/>
            </a:rPr>
            <a:t>Data</a:t>
          </a:r>
          <a:r>
            <a:rPr lang="en-AU" sz="1800" b="1" kern="1200"/>
            <a:t> </a:t>
          </a:r>
          <a:r>
            <a:rPr lang="en-AU" sz="1800" b="1" kern="1200">
              <a:latin typeface="Calibri"/>
            </a:rPr>
            <a:t>Protection</a:t>
          </a:r>
          <a:r>
            <a:rPr lang="en-AU" sz="1800" b="1" kern="1200"/>
            <a:t> </a:t>
          </a:r>
          <a:r>
            <a:rPr lang="en-AU" sz="1800" b="1" kern="1200">
              <a:latin typeface="Calibri"/>
            </a:rPr>
            <a:t>Related</a:t>
          </a:r>
          <a:r>
            <a:rPr lang="en-AU" sz="1800" b="1" kern="1200"/>
            <a:t> </a:t>
          </a:r>
          <a:r>
            <a:rPr lang="en-AU" sz="1800" b="1" kern="1200">
              <a:latin typeface="Calibri"/>
            </a:rPr>
            <a:t>Risks</a:t>
          </a:r>
          <a:endParaRPr lang="en-AU" sz="1800" b="1" kern="1200"/>
        </a:p>
      </dsp:txBody>
      <dsp:txXfrm rot="10800000">
        <a:off x="0" y="1269512"/>
        <a:ext cx="7884544" cy="415950"/>
      </dsp:txXfrm>
    </dsp:sp>
    <dsp:sp modelId="{32EFE6D1-9AF7-4D78-B394-002E38C95317}">
      <dsp:nvSpPr>
        <dsp:cNvPr id="0" name=""/>
        <dsp:cNvSpPr/>
      </dsp:nvSpPr>
      <dsp:spPr>
        <a:xfrm rot="10800000">
          <a:off x="0" y="635605"/>
          <a:ext cx="7884544" cy="640150"/>
        </a:xfrm>
        <a:prstGeom prst="upArrowCallout">
          <a:avLst/>
        </a:prstGeom>
        <a:solidFill>
          <a:srgbClr val="EA6B1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AU" sz="1800" b="1" kern="1200"/>
            <a:t>Description of Data Flows</a:t>
          </a:r>
        </a:p>
      </dsp:txBody>
      <dsp:txXfrm rot="10800000">
        <a:off x="0" y="635605"/>
        <a:ext cx="7884544" cy="415950"/>
      </dsp:txXfrm>
    </dsp:sp>
    <dsp:sp modelId="{6C808396-61BE-4AF1-AFD3-182427FBD02F}">
      <dsp:nvSpPr>
        <dsp:cNvPr id="0" name=""/>
        <dsp:cNvSpPr/>
      </dsp:nvSpPr>
      <dsp:spPr>
        <a:xfrm rot="10800000">
          <a:off x="0" y="1697"/>
          <a:ext cx="7884544" cy="640150"/>
        </a:xfrm>
        <a:prstGeom prst="upArrowCallout">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AU" sz="1800" b="1" kern="1200"/>
            <a:t>Determination of the </a:t>
          </a:r>
          <a:r>
            <a:rPr lang="en-AU" sz="1800" b="1" kern="1200">
              <a:latin typeface="Calibri"/>
            </a:rPr>
            <a:t>Need</a:t>
          </a:r>
          <a:r>
            <a:rPr lang="en-AU" sz="1800" b="1" kern="1200"/>
            <a:t> for and </a:t>
          </a:r>
          <a:r>
            <a:rPr lang="en-AU" sz="1800" b="1" kern="1200">
              <a:latin typeface="Calibri"/>
            </a:rPr>
            <a:t>Scope</a:t>
          </a:r>
          <a:r>
            <a:rPr lang="en-AU" sz="1800" b="1" kern="1200"/>
            <a:t> of the DPIA</a:t>
          </a:r>
        </a:p>
      </dsp:txBody>
      <dsp:txXfrm rot="10800000">
        <a:off x="0" y="1697"/>
        <a:ext cx="7884544" cy="41595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8/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8/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540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219776" eaLnBrk="1" fontAlgn="auto" latinLnBrk="0" hangingPunct="1">
              <a:lnSpc>
                <a:spcPct val="117999"/>
              </a:lnSpc>
              <a:spcBef>
                <a:spcPts val="0"/>
              </a:spcBef>
              <a:spcAft>
                <a:spcPts val="0"/>
              </a:spcAft>
              <a:buClrTx/>
              <a:buSzTx/>
              <a:buFontTx/>
              <a:buNone/>
              <a:tabLst/>
              <a:defRPr/>
            </a:pPr>
            <a:endParaRPr lang="en-US" sz="1050" b="0">
              <a:solidFill>
                <a:schemeClr val="tx1"/>
              </a:solidFill>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28620169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827B30C-1AFF-CAB3-240D-77C9BBA43411}"/>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6408379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4448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K"/>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21</a:t>
            </a:fld>
            <a:endParaRPr lang="en-GB"/>
          </a:p>
        </p:txBody>
      </p:sp>
    </p:spTree>
    <p:extLst>
      <p:ext uri="{BB962C8B-B14F-4D97-AF65-F5344CB8AC3E}">
        <p14:creationId xmlns:p14="http://schemas.microsoft.com/office/powerpoint/2010/main" val="22889856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8290712-803A-226A-8653-17127BB5054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17728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32452298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391887"/>
            <a:ext cx="4441370" cy="5912659"/>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391887"/>
            <a:ext cx="9787310" cy="6265587"/>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163581"/>
            <a:ext cx="1130969" cy="2770282"/>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391888"/>
            <a:ext cx="1130969" cy="3037112"/>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373031" y="744815"/>
            <a:ext cx="1130969" cy="2527984"/>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3515097"/>
            <a:ext cx="1130969" cy="3093232"/>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1"/>
            <a:ext cx="12206514" cy="391886"/>
          </a:xfrm>
          <a:prstGeom prst="rect">
            <a:avLst/>
          </a:prstGeom>
          <a:solidFill>
            <a:schemeClr val="tx1"/>
          </a:solidFill>
        </p:spPr>
        <p:txBody>
          <a:bodyPr anchor="ctr"/>
          <a:lstStyle/>
          <a:p>
            <a:pPr indent="914400"/>
            <a:endParaRPr lang="en-GB" sz="4400" b="1">
              <a:solidFill>
                <a:schemeClr val="bg1"/>
              </a:solidFill>
            </a:endParaRPr>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
        <p:nvSpPr>
          <p:cNvPr id="7" name="Text Placeholder 13">
            <a:extLst>
              <a:ext uri="{FF2B5EF4-FFF2-40B4-BE49-F238E27FC236}">
                <a16:creationId xmlns:a16="http://schemas.microsoft.com/office/drawing/2014/main" id="{E9360B8C-0433-2E3F-41EE-118310483402}"/>
              </a:ext>
            </a:extLst>
          </p:cNvPr>
          <p:cNvSpPr>
            <a:spLocks noGrp="1"/>
          </p:cNvSpPr>
          <p:nvPr>
            <p:ph type="body" sz="quarter" idx="14"/>
          </p:nvPr>
        </p:nvSpPr>
        <p:spPr>
          <a:xfrm>
            <a:off x="3195047" y="1181077"/>
            <a:ext cx="6207959" cy="4183443"/>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6798812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1"/>
            <a:ext cx="12192000" cy="1467855"/>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156949"/>
            <a:ext cx="12206514" cy="1624803"/>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49398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22486" y="9669"/>
            <a:ext cx="12206514" cy="1459239"/>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37411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4514" y="1"/>
            <a:ext cx="12206514" cy="1467854"/>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734708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83" r:id="rId1"/>
    <p:sldLayoutId id="2147483805" r:id="rId2"/>
    <p:sldLayoutId id="2147483712" r:id="rId3"/>
    <p:sldLayoutId id="2147483710" r:id="rId4"/>
    <p:sldLayoutId id="2147483713" r:id="rId5"/>
    <p:sldLayoutId id="2147483658" r:id="rId6"/>
    <p:sldLayoutId id="2147483665" r:id="rId7"/>
    <p:sldLayoutId id="2147483657" r:id="rId8"/>
    <p:sldLayoutId id="2147483663" r:id="rId9"/>
    <p:sldLayoutId id="2147483662" r:id="rId10"/>
    <p:sldLayoutId id="2147483806" r:id="rId11"/>
    <p:sldLayoutId id="2147483667" r:id="rId12"/>
    <p:sldLayoutId id="2147483661" r:id="rId13"/>
    <p:sldLayoutId id="2147483664" r:id="rId14"/>
    <p:sldLayoutId id="2147483668" r:id="rId15"/>
    <p:sldLayoutId id="2147483656" r:id="rId16"/>
    <p:sldLayoutId id="2147483666" r:id="rId17"/>
    <p:sldLayoutId id="2147483659" r:id="rId18"/>
    <p:sldLayoutId id="2147483655"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image" Target="../media/image23.png"/><Relationship Id="rId18" Type="http://schemas.openxmlformats.org/officeDocument/2006/relationships/image" Target="../media/image28.jpe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jpeg"/><Relationship Id="rId17" Type="http://schemas.openxmlformats.org/officeDocument/2006/relationships/image" Target="../media/image27.jpeg"/><Relationship Id="rId2" Type="http://schemas.openxmlformats.org/officeDocument/2006/relationships/image" Target="../media/image12.jpeg"/><Relationship Id="rId16" Type="http://schemas.openxmlformats.org/officeDocument/2006/relationships/image" Target="../media/image26.jpeg"/><Relationship Id="rId1" Type="http://schemas.openxmlformats.org/officeDocument/2006/relationships/slideLayout" Target="../slideLayouts/slideLayout6.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pn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png"/><Relationship Id="rId4" Type="http://schemas.microsoft.com/office/2007/relationships/hdphoto" Target="../media/hdphoto3.wdp"/></Relationships>
</file>

<file path=ppt/slides/_rels/slide1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jpe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 Type="http://schemas.openxmlformats.org/officeDocument/2006/relationships/image" Target="../media/image32.png"/><Relationship Id="rId16"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5" Type="http://schemas.openxmlformats.org/officeDocument/2006/relationships/image" Target="../media/image4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s>
</file>

<file path=ppt/slides/_rels/slide15.xml.rels><?xml version="1.0" encoding="UTF-8" standalone="yes"?>
<Relationships xmlns="http://schemas.openxmlformats.org/package/2006/relationships"><Relationship Id="rId8" Type="http://schemas.openxmlformats.org/officeDocument/2006/relationships/image" Target="../media/image51.png"/><Relationship Id="rId13" Type="http://schemas.microsoft.com/office/2007/relationships/hdphoto" Target="../media/hdphoto7.wdp"/><Relationship Id="rId3" Type="http://schemas.openxmlformats.org/officeDocument/2006/relationships/image" Target="../media/image48.png"/><Relationship Id="rId7" Type="http://schemas.openxmlformats.org/officeDocument/2006/relationships/image" Target="../media/image50.png"/><Relationship Id="rId12" Type="http://schemas.openxmlformats.org/officeDocument/2006/relationships/image" Target="../media/image53.png"/><Relationship Id="rId17" Type="http://schemas.microsoft.com/office/2007/relationships/hdphoto" Target="../media/hdphoto9.wdp"/><Relationship Id="rId2" Type="http://schemas.microsoft.com/office/2018/10/relationships/comments" Target="../comments/modernComment_F89_B44D599F.xml"/><Relationship Id="rId16" Type="http://schemas.openxmlformats.org/officeDocument/2006/relationships/image" Target="../media/image55.png"/><Relationship Id="rId1" Type="http://schemas.openxmlformats.org/officeDocument/2006/relationships/slideLayout" Target="../slideLayouts/slideLayout6.xml"/><Relationship Id="rId6" Type="http://schemas.openxmlformats.org/officeDocument/2006/relationships/image" Target="../media/image39.png"/><Relationship Id="rId11" Type="http://schemas.microsoft.com/office/2007/relationships/hdphoto" Target="../media/hdphoto6.wdp"/><Relationship Id="rId5" Type="http://schemas.microsoft.com/office/2007/relationships/hdphoto" Target="../media/hdphoto4.wdp"/><Relationship Id="rId15" Type="http://schemas.microsoft.com/office/2007/relationships/hdphoto" Target="../media/hdphoto8.wdp"/><Relationship Id="rId10" Type="http://schemas.openxmlformats.org/officeDocument/2006/relationships/image" Target="../media/image52.png"/><Relationship Id="rId4" Type="http://schemas.openxmlformats.org/officeDocument/2006/relationships/image" Target="../media/image49.png"/><Relationship Id="rId9" Type="http://schemas.microsoft.com/office/2007/relationships/hdphoto" Target="../media/hdphoto5.wdp"/><Relationship Id="rId14" Type="http://schemas.openxmlformats.org/officeDocument/2006/relationships/image" Target="../media/image54.png"/></Relationships>
</file>

<file path=ppt/slides/_rels/slide16.xml.rels><?xml version="1.0" encoding="UTF-8" standalone="yes"?>
<Relationships xmlns="http://schemas.openxmlformats.org/package/2006/relationships"><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21" Type="http://schemas.openxmlformats.org/officeDocument/2006/relationships/image" Target="../media/image74.jpeg"/><Relationship Id="rId34" Type="http://schemas.openxmlformats.org/officeDocument/2006/relationships/image" Target="../media/image87.png"/><Relationship Id="rId7" Type="http://schemas.openxmlformats.org/officeDocument/2006/relationships/image" Target="../media/image60.png"/><Relationship Id="rId12" Type="http://schemas.openxmlformats.org/officeDocument/2006/relationships/image" Target="../media/image65.jpeg"/><Relationship Id="rId17" Type="http://schemas.openxmlformats.org/officeDocument/2006/relationships/image" Target="../media/image70.jpeg"/><Relationship Id="rId25" Type="http://schemas.openxmlformats.org/officeDocument/2006/relationships/image" Target="../media/image78.png"/><Relationship Id="rId33" Type="http://schemas.openxmlformats.org/officeDocument/2006/relationships/image" Target="../media/image86.png"/><Relationship Id="rId2" Type="http://schemas.openxmlformats.org/officeDocument/2006/relationships/image" Target="../media/image56.png"/><Relationship Id="rId16" Type="http://schemas.openxmlformats.org/officeDocument/2006/relationships/image" Target="../media/image69.png"/><Relationship Id="rId20" Type="http://schemas.openxmlformats.org/officeDocument/2006/relationships/image" Target="../media/image73.png"/><Relationship Id="rId29" Type="http://schemas.openxmlformats.org/officeDocument/2006/relationships/image" Target="../media/image82.png"/><Relationship Id="rId1" Type="http://schemas.openxmlformats.org/officeDocument/2006/relationships/slideLayout" Target="../slideLayouts/slideLayout6.xml"/><Relationship Id="rId6" Type="http://schemas.openxmlformats.org/officeDocument/2006/relationships/image" Target="../media/image59.png"/><Relationship Id="rId11" Type="http://schemas.openxmlformats.org/officeDocument/2006/relationships/image" Target="../media/image64.jpeg"/><Relationship Id="rId24" Type="http://schemas.openxmlformats.org/officeDocument/2006/relationships/image" Target="../media/image77.png"/><Relationship Id="rId32" Type="http://schemas.openxmlformats.org/officeDocument/2006/relationships/image" Target="../media/image85.png"/><Relationship Id="rId37" Type="http://schemas.openxmlformats.org/officeDocument/2006/relationships/image" Target="../media/image89.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svg"/><Relationship Id="rId28" Type="http://schemas.openxmlformats.org/officeDocument/2006/relationships/image" Target="../media/image81.png"/><Relationship Id="rId36" Type="http://schemas.openxmlformats.org/officeDocument/2006/relationships/image" Target="../media/image88.png"/><Relationship Id="rId10" Type="http://schemas.openxmlformats.org/officeDocument/2006/relationships/image" Target="../media/image63.jpeg"/><Relationship Id="rId19" Type="http://schemas.openxmlformats.org/officeDocument/2006/relationships/image" Target="../media/image72.png"/><Relationship Id="rId31" Type="http://schemas.openxmlformats.org/officeDocument/2006/relationships/image" Target="../media/image84.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jpeg"/><Relationship Id="rId22" Type="http://schemas.openxmlformats.org/officeDocument/2006/relationships/image" Target="../media/image75.png"/><Relationship Id="rId27" Type="http://schemas.openxmlformats.org/officeDocument/2006/relationships/image" Target="../media/image80.jpeg"/><Relationship Id="rId30" Type="http://schemas.openxmlformats.org/officeDocument/2006/relationships/image" Target="../media/image83.png"/><Relationship Id="rId35" Type="http://schemas.openxmlformats.org/officeDocument/2006/relationships/hyperlink" Target="https://grc360pty.sharepoint.com/:p:/s/GRCInternal/ETxVUatiA1NCgFgVZFmpGogBKS7tS0WBslSGDRi1pfQKHg?e=lFKSG2" TargetMode="External"/><Relationship Id="rId8" Type="http://schemas.openxmlformats.org/officeDocument/2006/relationships/image" Target="../media/image61.emf"/><Relationship Id="rId3" Type="http://schemas.openxmlformats.org/officeDocument/2006/relationships/image" Target="../media/image39.png"/></Relationships>
</file>

<file path=ppt/slides/_rels/slide17.xml.rels><?xml version="1.0" encoding="UTF-8" standalone="yes"?>
<Relationships xmlns="http://schemas.openxmlformats.org/package/2006/relationships"><Relationship Id="rId8" Type="http://schemas.openxmlformats.org/officeDocument/2006/relationships/image" Target="../media/image95.jpeg"/><Relationship Id="rId13" Type="http://schemas.openxmlformats.org/officeDocument/2006/relationships/image" Target="../media/image100.png"/><Relationship Id="rId3" Type="http://schemas.openxmlformats.org/officeDocument/2006/relationships/image" Target="../media/image39.png"/><Relationship Id="rId7" Type="http://schemas.openxmlformats.org/officeDocument/2006/relationships/image" Target="../media/image94.png"/><Relationship Id="rId12" Type="http://schemas.openxmlformats.org/officeDocument/2006/relationships/image" Target="../media/image99.png"/><Relationship Id="rId2" Type="http://schemas.openxmlformats.org/officeDocument/2006/relationships/image" Target="../media/image90.jpeg"/><Relationship Id="rId16" Type="http://schemas.openxmlformats.org/officeDocument/2006/relationships/image" Target="../media/image103.jpeg"/><Relationship Id="rId1" Type="http://schemas.openxmlformats.org/officeDocument/2006/relationships/slideLayout" Target="../slideLayouts/slideLayout6.xml"/><Relationship Id="rId6" Type="http://schemas.openxmlformats.org/officeDocument/2006/relationships/image" Target="../media/image93.jpeg"/><Relationship Id="rId11" Type="http://schemas.openxmlformats.org/officeDocument/2006/relationships/image" Target="../media/image98.jpeg"/><Relationship Id="rId5" Type="http://schemas.openxmlformats.org/officeDocument/2006/relationships/image" Target="../media/image92.png"/><Relationship Id="rId15" Type="http://schemas.openxmlformats.org/officeDocument/2006/relationships/image" Target="../media/image102.png"/><Relationship Id="rId10" Type="http://schemas.openxmlformats.org/officeDocument/2006/relationships/image" Target="../media/image97.jpeg"/><Relationship Id="rId4" Type="http://schemas.openxmlformats.org/officeDocument/2006/relationships/image" Target="../media/image91.jpeg"/><Relationship Id="rId9" Type="http://schemas.openxmlformats.org/officeDocument/2006/relationships/image" Target="../media/image96.jpeg"/><Relationship Id="rId14" Type="http://schemas.openxmlformats.org/officeDocument/2006/relationships/image" Target="../media/image101.png"/></Relationships>
</file>

<file path=ppt/slides/_rels/slide18.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05.jpeg"/></Relationships>
</file>

<file path=ppt/slides/_rels/slide19.xml.rels><?xml version="1.0" encoding="UTF-8" standalone="yes"?>
<Relationships xmlns="http://schemas.openxmlformats.org/package/2006/relationships"><Relationship Id="rId8" Type="http://schemas.openxmlformats.org/officeDocument/2006/relationships/image" Target="../media/image107.svg"/><Relationship Id="rId13" Type="http://schemas.openxmlformats.org/officeDocument/2006/relationships/image" Target="../media/image112.png"/><Relationship Id="rId3" Type="http://schemas.openxmlformats.org/officeDocument/2006/relationships/tags" Target="../tags/tag3.xml"/><Relationship Id="rId7" Type="http://schemas.openxmlformats.org/officeDocument/2006/relationships/image" Target="../media/image106.png"/><Relationship Id="rId12" Type="http://schemas.openxmlformats.org/officeDocument/2006/relationships/image" Target="../media/image111.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6.xml"/><Relationship Id="rId11" Type="http://schemas.openxmlformats.org/officeDocument/2006/relationships/image" Target="../media/image110.png"/><Relationship Id="rId5" Type="http://schemas.openxmlformats.org/officeDocument/2006/relationships/tags" Target="../tags/tag5.xml"/><Relationship Id="rId10" Type="http://schemas.openxmlformats.org/officeDocument/2006/relationships/image" Target="../media/image109.svg"/><Relationship Id="rId4" Type="http://schemas.openxmlformats.org/officeDocument/2006/relationships/tags" Target="../tags/tag4.xml"/><Relationship Id="rId9" Type="http://schemas.openxmlformats.org/officeDocument/2006/relationships/image" Target="../media/image108.png"/><Relationship Id="rId14" Type="http://schemas.openxmlformats.org/officeDocument/2006/relationships/image" Target="../media/image113.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microsoft.com/office/2018/10/relationships/comments" Target="../comments/modernComment_EC9_128F75C9.xml"/><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115.jpeg"/></Relationships>
</file>

<file path=ppt/slides/_rels/slide22.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jpg"/><Relationship Id="rId1" Type="http://schemas.openxmlformats.org/officeDocument/2006/relationships/slideLayout" Target="../slideLayouts/slideLayout6.xml"/><Relationship Id="rId6" Type="http://schemas.openxmlformats.org/officeDocument/2006/relationships/image" Target="../media/image122.jpeg"/><Relationship Id="rId5" Type="http://schemas.openxmlformats.org/officeDocument/2006/relationships/image" Target="../media/image121.jpeg"/><Relationship Id="rId4" Type="http://schemas.openxmlformats.org/officeDocument/2006/relationships/image" Target="../media/image120.jpg"/></Relationships>
</file>

<file path=ppt/slides/_rels/slide2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14.xml"/><Relationship Id="rId5" Type="http://schemas.openxmlformats.org/officeDocument/2006/relationships/image" Target="../media/image126.svg"/><Relationship Id="rId4" Type="http://schemas.openxmlformats.org/officeDocument/2006/relationships/image" Target="../media/image125.png"/></Relationships>
</file>

<file path=ppt/slides/_rels/slide2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8.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svg"/><Relationship Id="rId2" Type="http://schemas.microsoft.com/office/2018/10/relationships/comments" Target="../comments/modernComment_F71_4B9EBF00.xml"/><Relationship Id="rId1" Type="http://schemas.openxmlformats.org/officeDocument/2006/relationships/slideLayout" Target="../slideLayouts/slideLayout3.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svg"/></Relationships>
</file>

<file path=ppt/slides/_rels/slide33.xml.rels><?xml version="1.0" encoding="UTF-8" standalone="yes"?>
<Relationships xmlns="http://schemas.openxmlformats.org/package/2006/relationships"><Relationship Id="rId2" Type="http://schemas.microsoft.com/office/2018/10/relationships/comments" Target="../comments/modernComment_F9C_8C1E0EF6.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microsoft.com/office/2018/10/relationships/comments" Target="../comments/modernComment_F99_C1B3767D.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microsoft.com/office/2018/10/relationships/comments" Target="../comments/modernComment_F9A_C92B4A09.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7.xml.rels><?xml version="1.0" encoding="UTF-8" standalone="yes"?>
<Relationships xmlns="http://schemas.openxmlformats.org/package/2006/relationships"><Relationship Id="rId2" Type="http://schemas.microsoft.com/office/2018/10/relationships/comments" Target="../comments/modernComment_F98_18EA6E79.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microsoft.com/office/2018/10/relationships/comments" Target="../comments/modernComment_F6E_F14357E4.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9.xml.rels><?xml version="1.0" encoding="UTF-8" standalone="yes"?>
<Relationships xmlns="http://schemas.openxmlformats.org/package/2006/relationships"><Relationship Id="rId2" Type="http://schemas.microsoft.com/office/2018/10/relationships/comments" Target="../comments/modernComment_FA0_1ABB6AA7.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134.jpeg"/><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138.jpe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39.png"/><Relationship Id="rId7" Type="http://schemas.openxmlformats.org/officeDocument/2006/relationships/image" Target="../media/image143.svg"/><Relationship Id="rId12" Type="http://schemas.openxmlformats.org/officeDocument/2006/relationships/image" Target="../media/image148.sv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42.png"/><Relationship Id="rId11" Type="http://schemas.openxmlformats.org/officeDocument/2006/relationships/image" Target="../media/image147.png"/><Relationship Id="rId5" Type="http://schemas.openxmlformats.org/officeDocument/2006/relationships/image" Target="../media/image141.svg"/><Relationship Id="rId10" Type="http://schemas.openxmlformats.org/officeDocument/2006/relationships/image" Target="../media/image146.svg"/><Relationship Id="rId4" Type="http://schemas.openxmlformats.org/officeDocument/2006/relationships/image" Target="../media/image140.png"/><Relationship Id="rId9" Type="http://schemas.openxmlformats.org/officeDocument/2006/relationships/image" Target="../media/image145.png"/></Relationships>
</file>

<file path=ppt/slides/_rels/slide48.xml.rels><?xml version="1.0" encoding="UTF-8" standalone="yes"?>
<Relationships xmlns="http://schemas.openxmlformats.org/package/2006/relationships"><Relationship Id="rId3" Type="http://schemas.openxmlformats.org/officeDocument/2006/relationships/image" Target="../media/image149.jpeg"/><Relationship Id="rId2" Type="http://schemas.microsoft.com/office/2018/10/relationships/comments" Target="../comments/modernComment_DD9_43C6E3C5.xml"/><Relationship Id="rId1" Type="http://schemas.openxmlformats.org/officeDocument/2006/relationships/slideLayout" Target="../slideLayouts/slideLayout2.xml"/><Relationship Id="rId4" Type="http://schemas.openxmlformats.org/officeDocument/2006/relationships/image" Target="../media/image150.png"/></Relationships>
</file>

<file path=ppt/slides/_rels/slide49.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5.xml.rels><?xml version="1.0" encoding="UTF-8" standalone="yes"?>
<Relationships xmlns="http://schemas.openxmlformats.org/package/2006/relationships"><Relationship Id="rId2" Type="http://schemas.microsoft.com/office/2018/10/relationships/comments" Target="../comments/modernComment_F84_3590BA18.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hemeOverride" Target="../theme/themeOverride1.xml"/><Relationship Id="rId4" Type="http://schemas.openxmlformats.org/officeDocument/2006/relationships/image" Target="../media/image156.jpeg"/></Relationships>
</file>

<file path=ppt/slides/_rels/slide51.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png"/><Relationship Id="rId3" Type="http://schemas.openxmlformats.org/officeDocument/2006/relationships/image" Target="../media/image104.jpeg"/><Relationship Id="rId21" Type="http://schemas.openxmlformats.org/officeDocument/2006/relationships/image" Target="../media/image174.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2" Type="http://schemas.openxmlformats.org/officeDocument/2006/relationships/notesSlide" Target="../notesSlides/notesSlide16.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1" Type="http://schemas.openxmlformats.org/officeDocument/2006/relationships/slideLayout" Target="../slideLayouts/slideLayout6.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10" Type="http://schemas.openxmlformats.org/officeDocument/2006/relationships/image" Target="../media/image163.png"/><Relationship Id="rId19" Type="http://schemas.openxmlformats.org/officeDocument/2006/relationships/image" Target="../media/image172.jpe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s>
</file>

<file path=ppt/slides/_rels/slide52.xml.rels><?xml version="1.0" encoding="UTF-8" standalone="yes"?>
<Relationships xmlns="http://schemas.openxmlformats.org/package/2006/relationships"><Relationship Id="rId3" Type="http://schemas.openxmlformats.org/officeDocument/2006/relationships/image" Target="../media/image183.png"/><Relationship Id="rId2" Type="http://schemas.microsoft.com/office/2018/10/relationships/comments" Target="../comments/modernComment_E50_9ED53407.xml"/><Relationship Id="rId1" Type="http://schemas.openxmlformats.org/officeDocument/2006/relationships/slideLayout" Target="../slideLayouts/slideLayout18.xml"/><Relationship Id="rId5" Type="http://schemas.openxmlformats.org/officeDocument/2006/relationships/image" Target="../media/image184.png"/><Relationship Id="rId4" Type="http://schemas.microsoft.com/office/2007/relationships/hdphoto" Target="../media/hdphoto10.wdp"/></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hemeOverride" Target="../theme/themeOverride2.xml"/><Relationship Id="rId6" Type="http://schemas.openxmlformats.org/officeDocument/2006/relationships/image" Target="../media/image187.svg"/><Relationship Id="rId5" Type="http://schemas.openxmlformats.org/officeDocument/2006/relationships/image" Target="../media/image186.png"/><Relationship Id="rId4" Type="http://schemas.openxmlformats.org/officeDocument/2006/relationships/image" Target="../media/image185.jpeg"/></Relationships>
</file>

<file path=ppt/slides/_rels/slide54.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microsoft.com/office/2018/10/relationships/comments" Target="../comments/modernComment_F8E_16D5B17A.xm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GB" dirty="0"/>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PK"/>
          </a:p>
        </p:txBody>
      </p:sp>
      <p:sp>
        <p:nvSpPr>
          <p:cNvPr id="15" name="TextBox 7">
            <a:extLst>
              <a:ext uri="{FF2B5EF4-FFF2-40B4-BE49-F238E27FC236}">
                <a16:creationId xmlns:a16="http://schemas.microsoft.com/office/drawing/2014/main" id="{9C65CEDA-8167-4265-D93A-E9558806C102}"/>
              </a:ext>
            </a:extLst>
          </p:cNvPr>
          <p:cNvSpPr txBox="1"/>
          <p:nvPr/>
        </p:nvSpPr>
        <p:spPr>
          <a:xfrm>
            <a:off x="3641558" y="3414399"/>
            <a:ext cx="4907349" cy="738664"/>
          </a:xfrm>
          <a:prstGeom prst="rect">
            <a:avLst/>
          </a:prstGeom>
        </p:spPr>
        <p:txBody>
          <a:bodyPr wrap="square" lIns="0" tIns="0" rIns="0" bIns="0" rtlCol="0" anchor="t">
            <a:spAutoFit/>
          </a:bodyPr>
          <a:lstStyle/>
          <a:p>
            <a:pPr algn="ctr" defTabSz="857250">
              <a:defRPr/>
            </a:pPr>
            <a:r>
              <a:rPr lang="en-US" sz="2400" b="1" spc="-43">
                <a:solidFill>
                  <a:schemeClr val="bg1"/>
                </a:solidFill>
                <a:latin typeface="Calibri" panose="020F0502020204030204" pitchFamily="34" charset="0"/>
                <a:cs typeface="Calibri" panose="020F0502020204030204" pitchFamily="34" charset="0"/>
              </a:rPr>
              <a:t>– PROPOSAL – </a:t>
            </a:r>
          </a:p>
          <a:p>
            <a:pPr algn="ctr" defTabSz="857250">
              <a:defRPr/>
            </a:pPr>
            <a:r>
              <a:rPr lang="en-US" sz="2400" b="1">
                <a:solidFill>
                  <a:schemeClr val="bg1"/>
                </a:solidFill>
                <a:latin typeface="Calibri" panose="020F0502020204030204" pitchFamily="34" charset="0"/>
                <a:cs typeface="Calibri" panose="020F0502020204030204" pitchFamily="34" charset="0"/>
              </a:rPr>
              <a:t>PDPL COMPLIANCE SERVICES</a:t>
            </a: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defTabSz="857250"/>
            <a:r>
              <a:rPr lang="en-AU" sz="1688">
                <a:solidFill>
                  <a:srgbClr val="000000"/>
                </a:solidFill>
                <a:latin typeface="Times" pitchFamily="2" charset="0"/>
              </a:rPr>
              <a:t> </a:t>
            </a:r>
            <a:endParaRPr lang="en-US" sz="1688">
              <a:solidFill>
                <a:prstClr val="black"/>
              </a:solidFill>
              <a:latin typeface="Calibri"/>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defTabSz="857250"/>
            <a:r>
              <a:rPr lang="en-AU" sz="1688">
                <a:solidFill>
                  <a:srgbClr val="000000"/>
                </a:solidFill>
                <a:latin typeface="Times" pitchFamily="2" charset="0"/>
              </a:rPr>
              <a:t> </a:t>
            </a:r>
            <a:endParaRPr lang="en-US" sz="1688">
              <a:solidFill>
                <a:prstClr val="black"/>
              </a:solidFill>
              <a:latin typeface="Calibri"/>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defTabSz="857250"/>
            <a:r>
              <a:rPr lang="en-AU" sz="1688">
                <a:solidFill>
                  <a:srgbClr val="000000"/>
                </a:solidFill>
                <a:latin typeface="Times" pitchFamily="2" charset="0"/>
              </a:rPr>
              <a:t> </a:t>
            </a:r>
            <a:endParaRPr lang="en-US" sz="1688">
              <a:solidFill>
                <a:prstClr val="black"/>
              </a:solidFill>
              <a:latin typeface="Calibri"/>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522" y="2398018"/>
            <a:ext cx="1240159" cy="618047"/>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244956" y="5041289"/>
            <a:ext cx="1948226"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rgbClr val="CCB76A"/>
                </a:solidFill>
              </a:rPr>
              <a:t>Date of Submission: {{Date}}</a:t>
            </a:r>
            <a:endParaRPr lang="en-US" sz="1200" dirty="0">
              <a:solidFill>
                <a:srgbClr val="CCB76A"/>
              </a:solidFill>
              <a:highlight>
                <a:srgbClr val="FFFF00"/>
              </a:highlight>
            </a:endParaRPr>
          </a:p>
          <a:p>
            <a:pPr algn="ctr"/>
            <a:r>
              <a:rPr lang="en-US" sz="1200" dirty="0">
                <a:solidFill>
                  <a:srgbClr val="CCB76A"/>
                </a:solidFill>
              </a:rPr>
              <a:t>Version 1.0</a:t>
            </a:r>
          </a:p>
        </p:txBody>
      </p:sp>
      <p:sp>
        <p:nvSpPr>
          <p:cNvPr id="3" name="TextBox 2">
            <a:extLst>
              <a:ext uri="{FF2B5EF4-FFF2-40B4-BE49-F238E27FC236}">
                <a16:creationId xmlns:a16="http://schemas.microsoft.com/office/drawing/2014/main" id="{28486E40-8A96-1CC8-8364-F2180E9AC07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8437818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96637" y="1204536"/>
            <a:ext cx="1811301" cy="811754"/>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dirty="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dirty="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6">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6260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518961"/>
              <a:chOff x="0" y="-475455"/>
              <a:chExt cx="2370951" cy="3358613"/>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8"/>
                <a:ext cx="2370951" cy="2245010"/>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endPar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6183605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095570" y="3078743"/>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74533" y="1415222"/>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502074" y="-14498"/>
            <a:ext cx="2308869" cy="754372"/>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5702769" y="972536"/>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86435" y="3617267"/>
            <a:ext cx="1618135" cy="132981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97239" y="835644"/>
            <a:ext cx="1505415" cy="128917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851039" y="1026"/>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93696" y="2469938"/>
            <a:ext cx="3444941"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6">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40524" y="3940770"/>
            <a:ext cx="1325464" cy="933086"/>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104578" y="1427912"/>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720276" y="2869242"/>
            <a:ext cx="1094936" cy="703638"/>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284360" y="4163423"/>
            <a:ext cx="1429866"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29"/>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641DC4E-87D2-498C-FD9E-9EEBE9DFB5B3}"/>
              </a:ext>
            </a:extLst>
          </p:cNvPr>
          <p:cNvSpPr txBox="1"/>
          <p:nvPr/>
        </p:nvSpPr>
        <p:spPr>
          <a:xfrm flipV="1">
            <a:off x="5301048" y="3805542"/>
            <a:ext cx="2166552"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35"/>
              </a:rPr>
              <a:t>GRC360 - PCI DSS Proposal - Template.pptx</a:t>
            </a:r>
            <a:endParaRPr lang="en-US"/>
          </a:p>
        </p:txBody>
      </p:sp>
      <p:pic>
        <p:nvPicPr>
          <p:cNvPr id="13" name="Picture 12" descr="A close-up of a logo&#10;&#10;AI-generated content may be incorrect.">
            <a:extLst>
              <a:ext uri="{FF2B5EF4-FFF2-40B4-BE49-F238E27FC236}">
                <a16:creationId xmlns:a16="http://schemas.microsoft.com/office/drawing/2014/main" id="{047BACE5-2F98-432D-4EBE-74A9017C209B}"/>
              </a:ext>
            </a:extLst>
          </p:cNvPr>
          <p:cNvPicPr>
            <a:picLocks noChangeAspect="1"/>
          </p:cNvPicPr>
          <p:nvPr/>
        </p:nvPicPr>
        <p:blipFill>
          <a:blip r:embed="rId36"/>
          <a:stretch>
            <a:fillRect/>
          </a:stretch>
        </p:blipFill>
        <p:spPr>
          <a:xfrm>
            <a:off x="284789" y="5611095"/>
            <a:ext cx="1285875" cy="571500"/>
          </a:xfrm>
          <a:prstGeom prst="rect">
            <a:avLst/>
          </a:prstGeom>
        </p:spPr>
      </p:pic>
      <p:pic>
        <p:nvPicPr>
          <p:cNvPr id="20" name="Picture 19" descr="A blue and orange logo&#10;&#10;AI-generated content may be incorrect.">
            <a:extLst>
              <a:ext uri="{FF2B5EF4-FFF2-40B4-BE49-F238E27FC236}">
                <a16:creationId xmlns:a16="http://schemas.microsoft.com/office/drawing/2014/main" id="{0198D7C8-AB20-2766-2AF5-854E59B1BE16}"/>
              </a:ext>
            </a:extLst>
          </p:cNvPr>
          <p:cNvPicPr>
            <a:picLocks noChangeAspect="1"/>
          </p:cNvPicPr>
          <p:nvPr/>
        </p:nvPicPr>
        <p:blipFill>
          <a:blip r:embed="rId37"/>
          <a:stretch>
            <a:fillRect/>
          </a:stretch>
        </p:blipFill>
        <p:spPr>
          <a:xfrm>
            <a:off x="2571539" y="622417"/>
            <a:ext cx="2146214" cy="670611"/>
          </a:xfrm>
          <a:prstGeom prst="rect">
            <a:avLst/>
          </a:prstGeom>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6980333" y="1745189"/>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278"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68631" y="2582940"/>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2"/>
          <a:stretch>
            <a:fillRect/>
          </a:stretch>
        </p:blipFill>
        <p:spPr>
          <a:xfrm>
            <a:off x="4915686" y="2774568"/>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01752" y="6103600"/>
            <a:ext cx="3560506" cy="38080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15"/>
          <a:stretch>
            <a:fillRect/>
          </a:stretch>
        </p:blipFill>
        <p:spPr>
          <a:xfrm>
            <a:off x="4760202" y="137545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2070" y="500576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3600" b="1">
                <a:solidFill>
                  <a:schemeClr val="bg1"/>
                </a:solidFill>
                <a:cs typeface="Calibri" panose="020F0502020204030204" pitchFamily="34" charset="0"/>
              </a:rPr>
              <a:t>OUR COMPETITIVE ADVANTAGE</a:t>
            </a:r>
            <a:endParaRPr lang="en-GB" sz="36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338554"/>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provide value-based services.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Senior Management is committed to provide its best resources and attention to ensure successful completion of all engagements.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51148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0"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our esteemed Clients.</a:t>
            </a:r>
            <a:endPar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endParaRP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4035509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3600" b="1">
                <a:solidFill>
                  <a:schemeClr val="bg1"/>
                </a:solidFill>
                <a:latin typeface="Calibri" panose="020F0502020204030204" pitchFamily="34" charset="0"/>
                <a:cs typeface="Calibri" panose="020F0502020204030204" pitchFamily="34" charset="0"/>
              </a:rPr>
              <a:t>TABLE OF CONTENTS</a:t>
            </a:r>
            <a:endParaRPr lang="en-GB" sz="36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1894113193"/>
              </p:ext>
            </p:extLst>
          </p:nvPr>
        </p:nvGraphicFramePr>
        <p:xfrm>
          <a:off x="0" y="1620838"/>
          <a:ext cx="12192000" cy="4280650"/>
        </p:xfrm>
        <a:graphic>
          <a:graphicData uri="http://schemas.openxmlformats.org/drawingml/2006/table">
            <a:tbl>
              <a:tblPr firstRow="1" bandRow="1"/>
              <a:tblGrid>
                <a:gridCol w="1028700">
                  <a:extLst>
                    <a:ext uri="{9D8B030D-6E8A-4147-A177-3AD203B41FA5}">
                      <a16:colId xmlns:a16="http://schemas.microsoft.com/office/drawing/2014/main" val="2854472208"/>
                    </a:ext>
                  </a:extLst>
                </a:gridCol>
                <a:gridCol w="8304037">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43049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8501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8501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85016">
                <a:tc>
                  <a:txBody>
                    <a:body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Scope</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2</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215468077"/>
                  </a:ext>
                </a:extLst>
              </a:tr>
              <a:tr h="38501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DPL Service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85016">
                <a:tc>
                  <a:txBody>
                    <a:bodyPr/>
                    <a:lstStyle/>
                    <a:p>
                      <a:pPr algn="ctr"/>
                      <a:r>
                        <a:rPr lang="en-US" sz="160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GRC360’s Proposed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48437896"/>
                  </a:ext>
                </a:extLst>
              </a:tr>
              <a:tr h="38501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 </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146972992"/>
                  </a:ext>
                </a:extLst>
              </a:tr>
              <a:tr h="38501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2</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85016">
                <a:tc>
                  <a:txBody>
                    <a:bodyPr/>
                    <a:lstStyle/>
                    <a:p>
                      <a:pPr algn="ctr"/>
                      <a:r>
                        <a:rPr lang="en-US" sz="1600"/>
                        <a:t>9</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8501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Our Team</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5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8501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5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288603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normAutofit/>
          </a:bodyPr>
          <a:lstStyle/>
          <a:p>
            <a:r>
              <a:rPr lang="en-US" sz="3600"/>
              <a:t>PROJECT OVERVIEW</a:t>
            </a:r>
            <a:endParaRPr lang="en-GB" sz="3600"/>
          </a:p>
        </p:txBody>
      </p:sp>
    </p:spTree>
    <p:extLst>
      <p:ext uri="{BB962C8B-B14F-4D97-AF65-F5344CB8AC3E}">
        <p14:creationId xmlns:p14="http://schemas.microsoft.com/office/powerpoint/2010/main" val="5429154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6">
            <a:extLst>
              <a:ext uri="{FF2B5EF4-FFF2-40B4-BE49-F238E27FC236}">
                <a16:creationId xmlns:a16="http://schemas.microsoft.com/office/drawing/2014/main" id="{CDE7D77E-6DAA-CF33-0531-C60DED053A2A}"/>
              </a:ext>
            </a:extLst>
          </p:cNvPr>
          <p:cNvSpPr txBox="1"/>
          <p:nvPr/>
        </p:nvSpPr>
        <p:spPr>
          <a:xfrm>
            <a:off x="360651" y="1927722"/>
            <a:ext cx="6921108" cy="3600986"/>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specializes in customized cybersecurity services with expertise in Saudi Arabia's PDPL, ensuring complete compliance and resilience against emerging cyber threats. Our proposal offers a comprehensive roadmap for PDPL compliance, addressing its unique complexities.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 a data-centric world, we are your trusted partner, prioritizing data privacy and security. Our holistic approach guarantees regulatory adherence while bolstering your organization's ability to withstand evolving cyber threats.</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pc="14" dirty="0">
              <a:solidFill>
                <a:srgbClr val="000000"/>
              </a:solidFill>
              <a:latin typeface="Calibri" panose="020F0502020204030204" pitchFamily="34" charset="0"/>
              <a:cs typeface="Calibri" panose="020F0502020204030204" pitchFamily="34" charset="0"/>
            </a:endParaRPr>
          </a:p>
          <a:p>
            <a:pPr algn="just">
              <a:defRPr/>
            </a:pPr>
            <a:r>
              <a:rPr kumimoji="0" lang="en-US"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oposal outlines our comprehensive approach and methodology to ensure the </a:t>
            </a:r>
            <a:r>
              <a:rPr lang="en-US" b="1"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s</a:t>
            </a:r>
            <a:r>
              <a:rPr kumimoji="0" lang="en-US"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mpliance with the Kingdom of Saudi Arabia's Personal Data Protection Law (KSA PDPL). </a:t>
            </a:r>
            <a:endParaRPr kumimoji="0" lang="en-US"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Placeholder 5" descr="A person holding a tablet&#10;&#10;Description automatically generated with low confidence">
            <a:extLst>
              <a:ext uri="{FF2B5EF4-FFF2-40B4-BE49-F238E27FC236}">
                <a16:creationId xmlns:a16="http://schemas.microsoft.com/office/drawing/2014/main" id="{E0059DE5-D3A1-AC88-37ED-9413E26865AB}"/>
              </a:ext>
            </a:extLst>
          </p:cNvPr>
          <p:cNvPicPr>
            <a:picLocks noGrp="1" noChangeAspect="1"/>
          </p:cNvPicPr>
          <p:nvPr>
            <p:ph type="pic" sz="quarter" idx="13"/>
          </p:nvPr>
        </p:nvPicPr>
        <p:blipFill rotWithShape="1">
          <a:blip r:embed="rId4" cstate="print">
            <a:extLst>
              <a:ext uri="{28A0092B-C50C-407E-A947-70E740481C1C}">
                <a14:useLocalDpi xmlns:a14="http://schemas.microsoft.com/office/drawing/2010/main" val="0"/>
              </a:ext>
            </a:extLst>
          </a:blip>
          <a:srcRect/>
          <a:stretch/>
        </p:blipFill>
        <p:spPr>
          <a:xfrm>
            <a:off x="7711197" y="0"/>
            <a:ext cx="4480803" cy="6858000"/>
          </a:xfrm>
        </p:spPr>
      </p:pic>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1391689"/>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SCOPE</a:t>
            </a:r>
            <a:endParaRPr lang="en-GB"/>
          </a:p>
        </p:txBody>
      </p:sp>
    </p:spTree>
    <p:extLst>
      <p:ext uri="{BB962C8B-B14F-4D97-AF65-F5344CB8AC3E}">
        <p14:creationId xmlns:p14="http://schemas.microsoft.com/office/powerpoint/2010/main" val="894094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10;&#10;Description automatically generated">
            <a:extLst>
              <a:ext uri="{FF2B5EF4-FFF2-40B4-BE49-F238E27FC236}">
                <a16:creationId xmlns:a16="http://schemas.microsoft.com/office/drawing/2014/main" id="{31DDB3FB-A46F-73FB-559F-F905A37E035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3048"/>
            <a:ext cx="12192000" cy="1470902"/>
          </a:xfrm>
          <a:prstGeom prst="rect">
            <a:avLst/>
          </a:prstGeom>
        </p:spPr>
      </p:pic>
      <p:sp>
        <p:nvSpPr>
          <p:cNvPr id="8" name="Text Placeholder 7">
            <a:extLst>
              <a:ext uri="{FF2B5EF4-FFF2-40B4-BE49-F238E27FC236}">
                <a16:creationId xmlns:a16="http://schemas.microsoft.com/office/drawing/2014/main" id="{2CA9713A-6739-C214-66A5-66DBAC4A44F2}"/>
              </a:ext>
            </a:extLst>
          </p:cNvPr>
          <p:cNvSpPr>
            <a:spLocks noGrp="1"/>
          </p:cNvSpPr>
          <p:nvPr>
            <p:ph type="body" sz="quarter" idx="14"/>
          </p:nvPr>
        </p:nvSpPr>
        <p:spPr>
          <a:xfrm>
            <a:off x="0" y="-3048"/>
            <a:ext cx="12206514" cy="1470902"/>
          </a:xfrm>
          <a:solidFill>
            <a:schemeClr val="tx1">
              <a:alpha val="62000"/>
            </a:schemeClr>
          </a:solidFill>
        </p:spPr>
        <p:txBody>
          <a:bodyPr/>
          <a:lstStyle/>
          <a:p>
            <a:r>
              <a:rPr lang="en-US">
                <a:latin typeface="+mj-lt"/>
              </a:rPr>
              <a:t>SCOPE OF WORK (SOW</a:t>
            </a:r>
            <a:r>
              <a:rPr lang="en-US"/>
              <a:t>)</a:t>
            </a:r>
            <a:endParaRPr lang="en-GB"/>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6">
            <a:extLst>
              <a:ext uri="{FF2B5EF4-FFF2-40B4-BE49-F238E27FC236}">
                <a16:creationId xmlns:a16="http://schemas.microsoft.com/office/drawing/2014/main" id="{6B86A20F-E9BD-6B66-779D-F40E01393DAF}"/>
              </a:ext>
            </a:extLst>
          </p:cNvPr>
          <p:cNvSpPr txBox="1"/>
          <p:nvPr/>
        </p:nvSpPr>
        <p:spPr>
          <a:xfrm>
            <a:off x="544754" y="1767007"/>
            <a:ext cx="10944227" cy="1661993"/>
          </a:xfrm>
          <a:prstGeom prst="rect">
            <a:avLst/>
          </a:prstGeom>
        </p:spPr>
        <p:txBody>
          <a:bodyPr wrap="square" lIns="0" tIns="0" rIns="0" bIns="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proposed project shall include </a:t>
            </a:r>
            <a:r>
              <a:rPr kumimoji="0" lang="en-US" sz="1800" b="1" i="0" u="none" strike="noStrike" kern="1200" cap="none" spc="14" normalizeH="0" baseline="0" noProof="0">
                <a:ln>
                  <a:noFill/>
                </a:ln>
                <a:solidFill>
                  <a:srgbClr val="000000"/>
                </a:solidFill>
                <a:effectLst/>
                <a:uLnTx/>
                <a:uFillTx/>
                <a:latin typeface="Calibri"/>
                <a:ea typeface="+mn-ea"/>
                <a:cs typeface="Calibri"/>
              </a:rPr>
              <a:t>Gap Assessment </a:t>
            </a:r>
            <a:r>
              <a:rPr lang="en-US" b="1" spc="14">
                <a:solidFill>
                  <a:srgbClr val="000000"/>
                </a:solidFill>
                <a:latin typeface="Calibri"/>
                <a:cs typeface="Calibri"/>
              </a:rPr>
              <a:t>and Compliance services </a:t>
            </a:r>
            <a:r>
              <a:rPr kumimoji="0" lang="en-US" sz="1800" b="0" i="0" u="none" strike="noStrike" kern="1200" cap="none" spc="14" normalizeH="0" baseline="0" noProof="0">
                <a:ln>
                  <a:noFill/>
                </a:ln>
                <a:solidFill>
                  <a:srgbClr val="000000"/>
                </a:solidFill>
                <a:effectLst/>
                <a:uLnTx/>
                <a:uFillTx/>
                <a:latin typeface="Calibri"/>
                <a:ea typeface="+mn-ea"/>
                <a:cs typeface="Calibri"/>
              </a:rPr>
              <a:t>for achieving alignment with the Saudi Personal Data Protection Law.</a:t>
            </a:r>
            <a:endParaRPr lang="en-US" spc="14">
              <a:solidFill>
                <a:srgbClr val="000000"/>
              </a:solidFill>
              <a:latin typeface="Calibri" panose="020F0502020204030204" pitchFamily="34" charset="0"/>
              <a:cs typeface="Calibri" panose="020F050202020403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he project shall not include purchasing or development of technology, configuration, or implementation of tool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BD708865-CC84-5737-FA2E-0D069740DD69}"/>
              </a:ext>
            </a:extLst>
          </p:cNvPr>
          <p:cNvGraphicFramePr>
            <a:graphicFrameLocks noGrp="1"/>
          </p:cNvGraphicFramePr>
          <p:nvPr>
            <p:extLst>
              <p:ext uri="{D42A27DB-BD31-4B8C-83A1-F6EECF244321}">
                <p14:modId xmlns:p14="http://schemas.microsoft.com/office/powerpoint/2010/main" val="1203365659"/>
              </p:ext>
            </p:extLst>
          </p:nvPr>
        </p:nvGraphicFramePr>
        <p:xfrm>
          <a:off x="544754" y="3119332"/>
          <a:ext cx="10944227" cy="2177264"/>
        </p:xfrm>
        <a:graphic>
          <a:graphicData uri="http://schemas.openxmlformats.org/drawingml/2006/table">
            <a:tbl>
              <a:tblPr firstRow="1" bandRow="1"/>
              <a:tblGrid>
                <a:gridCol w="3328006">
                  <a:extLst>
                    <a:ext uri="{9D8B030D-6E8A-4147-A177-3AD203B41FA5}">
                      <a16:colId xmlns:a16="http://schemas.microsoft.com/office/drawing/2014/main" val="20000"/>
                    </a:ext>
                  </a:extLst>
                </a:gridCol>
                <a:gridCol w="7616221">
                  <a:extLst>
                    <a:ext uri="{9D8B030D-6E8A-4147-A177-3AD203B41FA5}">
                      <a16:colId xmlns:a16="http://schemas.microsoft.com/office/drawing/2014/main" val="1361210650"/>
                    </a:ext>
                  </a:extLst>
                </a:gridCol>
              </a:tblGrid>
              <a:tr h="37894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r>
                        <a:rPr lang="en-US" sz="1800">
                          <a:solidFill>
                            <a:srgbClr val="CCB76A"/>
                          </a:solidFill>
                        </a:rPr>
                        <a:t>Scoped Item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14400" rtl="0" eaLnBrk="1" latinLnBrk="0" hangingPunct="1"/>
                      <a:r>
                        <a:rPr lang="en-US" sz="1800" b="1" kern="1200">
                          <a:solidFill>
                            <a:srgbClr val="CCB76A"/>
                          </a:solidFill>
                          <a:latin typeface="Calibri"/>
                          <a:ea typeface="+mn-ea"/>
                          <a:cs typeface="+mn-cs"/>
                        </a:rPr>
                        <a:t>Descriptio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468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600" b="1" kern="1200">
                          <a:solidFill>
                            <a:schemeClr val="bg1"/>
                          </a:solidFill>
                          <a:latin typeface="+mn-lt"/>
                          <a:ea typeface="+mn-ea"/>
                          <a:cs typeface="+mn-cs"/>
                        </a:rPr>
                        <a:t>Personal Data Protection Law (PDPL)</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75000"/>
                        <a:lumOff val="2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285750" indent="-285750">
                        <a:buFont typeface="Arial" panose="020B0604020202020204" pitchFamily="34" charset="0"/>
                        <a:buChar char="•"/>
                      </a:pPr>
                      <a:r>
                        <a:rPr lang="en-US" sz="1600"/>
                        <a:t>Gap assessment of current level of compliance against PDPL.</a:t>
                      </a:r>
                    </a:p>
                    <a:p>
                      <a:pPr marL="285750" indent="-285750">
                        <a:buFont typeface="Arial" panose="020B0604020202020204" pitchFamily="34" charset="0"/>
                        <a:buChar char="•"/>
                      </a:pPr>
                      <a:r>
                        <a:rPr lang="en-US" sz="1600"/>
                        <a:t>Compliance against the deliverable's details in the project deliverables section</a:t>
                      </a:r>
                    </a:p>
                    <a:p>
                      <a:pPr marL="285750" indent="-285750">
                        <a:buFont typeface="Arial" panose="020B0604020202020204" pitchFamily="34" charset="0"/>
                        <a:buChar char="•"/>
                      </a:pPr>
                      <a:r>
                        <a:rPr lang="en-US" sz="1600"/>
                        <a:t>Compliance Assessment report</a:t>
                      </a:r>
                    </a:p>
                    <a:p>
                      <a:pPr marL="285750" indent="-285750">
                        <a:buFont typeface="Arial" panose="020B0604020202020204" pitchFamily="34" charset="0"/>
                        <a:buChar char="•"/>
                      </a:pPr>
                      <a:r>
                        <a:rPr lang="en-US" sz="1600"/>
                        <a:t>Compliance Roadmap Report - Executive summary presentations summarizing assessment results and key recommendations in a clear manner for senior management and stakeholders along with a detailed report of findings.</a:t>
                      </a:r>
                    </a:p>
                    <a:p>
                      <a:pPr marL="285750" indent="-285750">
                        <a:buFont typeface="Arial" panose="020B0604020202020204" pitchFamily="34" charset="0"/>
                        <a:buChar char="•"/>
                      </a:pPr>
                      <a:r>
                        <a:rPr lang="en-US" sz="1600"/>
                        <a:t>PDPL Awareness and Training Session</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295273252"/>
                  </a:ext>
                </a:extLst>
              </a:tr>
            </a:tbl>
          </a:graphicData>
        </a:graphic>
      </p:graphicFrame>
      <p:sp>
        <p:nvSpPr>
          <p:cNvPr id="6" name="TextBox 5">
            <a:extLst>
              <a:ext uri="{FF2B5EF4-FFF2-40B4-BE49-F238E27FC236}">
                <a16:creationId xmlns:a16="http://schemas.microsoft.com/office/drawing/2014/main" id="{3C84520C-62F1-A757-8221-06A446B9F391}"/>
              </a:ext>
            </a:extLst>
          </p:cNvPr>
          <p:cNvSpPr txBox="1"/>
          <p:nvPr/>
        </p:nvSpPr>
        <p:spPr>
          <a:xfrm>
            <a:off x="1885950" y="6261785"/>
            <a:ext cx="92646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 Any task or service not explicitly mentioned in this proposal will be out of scope for this project</a:t>
            </a:r>
            <a:r>
              <a:rPr kumimoji="0" lang="en-AE" sz="1800" b="0" i="0" u="none" strike="noStrike" kern="1200" cap="none" spc="0" normalizeH="0" baseline="0" noProof="0">
                <a:ln>
                  <a:noFill/>
                </a:ln>
                <a:solidFill>
                  <a:srgbClr val="000000"/>
                </a:solidFill>
                <a:effectLst/>
                <a:uLnTx/>
                <a:uFillTx/>
                <a:latin typeface="Calibri"/>
                <a:ea typeface="+mn-ea"/>
                <a:cs typeface="+mn-cs"/>
              </a:rPr>
              <a:t>.</a:t>
            </a:r>
          </a:p>
        </p:txBody>
      </p:sp>
    </p:spTree>
    <p:extLst>
      <p:ext uri="{BB962C8B-B14F-4D97-AF65-F5344CB8AC3E}">
        <p14:creationId xmlns:p14="http://schemas.microsoft.com/office/powerpoint/2010/main" val="22243489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US" sz="3600"/>
              <a:t>PDPL (Personal Data Protection Law) </a:t>
            </a:r>
            <a:endParaRPr lang="en-GB" sz="3600"/>
          </a:p>
        </p:txBody>
      </p:sp>
    </p:spTree>
    <p:extLst>
      <p:ext uri="{BB962C8B-B14F-4D97-AF65-F5344CB8AC3E}">
        <p14:creationId xmlns:p14="http://schemas.microsoft.com/office/powerpoint/2010/main" val="1949585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E9C71FCF-650A-53F5-C44C-A5EF8C18B1EB}"/>
              </a:ext>
            </a:extLst>
          </p:cNvPr>
          <p:cNvGrpSpPr/>
          <p:nvPr/>
        </p:nvGrpSpPr>
        <p:grpSpPr>
          <a:xfrm>
            <a:off x="2427934" y="724992"/>
            <a:ext cx="7828173" cy="5708822"/>
            <a:chOff x="2956237" y="1495167"/>
            <a:chExt cx="6279526" cy="5128689"/>
          </a:xfrm>
        </p:grpSpPr>
        <p:grpSp>
          <p:nvGrpSpPr>
            <p:cNvPr id="21" name="Group 20"/>
            <p:cNvGrpSpPr/>
            <p:nvPr/>
          </p:nvGrpSpPr>
          <p:grpSpPr>
            <a:xfrm>
              <a:off x="2990071" y="1495167"/>
              <a:ext cx="871456" cy="4969733"/>
              <a:chOff x="2418151" y="510381"/>
              <a:chExt cx="1010848" cy="6934200"/>
            </a:xfrm>
          </p:grpSpPr>
          <p:sp>
            <p:nvSpPr>
              <p:cNvPr id="19" name="Rectangle 18"/>
              <p:cNvSpPr/>
              <p:nvPr/>
            </p:nvSpPr>
            <p:spPr>
              <a:xfrm>
                <a:off x="2418151" y="510381"/>
                <a:ext cx="348198" cy="6934200"/>
              </a:xfrm>
              <a:prstGeom prst="rect">
                <a:avLst/>
              </a:prstGeom>
              <a:solidFill>
                <a:schemeClr val="bg1"/>
              </a:solidFill>
              <a:ln>
                <a:noFill/>
              </a:ln>
              <a:effectLst>
                <a:outerShdw blurRad="635000" dist="241300" dir="7020000" sx="80000" sy="8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0" name="Rectangle 19"/>
              <p:cNvSpPr/>
              <p:nvPr/>
            </p:nvSpPr>
            <p:spPr>
              <a:xfrm>
                <a:off x="2603824" y="510381"/>
                <a:ext cx="825175" cy="69342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grpSp>
        <p:grpSp>
          <p:nvGrpSpPr>
            <p:cNvPr id="7" name="Group 6">
              <a:extLst>
                <a:ext uri="{FF2B5EF4-FFF2-40B4-BE49-F238E27FC236}">
                  <a16:creationId xmlns:a16="http://schemas.microsoft.com/office/drawing/2014/main" id="{305FB776-90DF-C018-DF37-60FC40D8D8FB}"/>
                </a:ext>
              </a:extLst>
            </p:cNvPr>
            <p:cNvGrpSpPr/>
            <p:nvPr/>
          </p:nvGrpSpPr>
          <p:grpSpPr>
            <a:xfrm>
              <a:off x="2956237" y="1495167"/>
              <a:ext cx="6279526" cy="5128689"/>
              <a:chOff x="2990069" y="803187"/>
              <a:chExt cx="6279526" cy="5128689"/>
            </a:xfrm>
          </p:grpSpPr>
          <p:sp>
            <p:nvSpPr>
              <p:cNvPr id="6" name="Pentagon 5"/>
              <p:cNvSpPr/>
              <p:nvPr/>
            </p:nvSpPr>
            <p:spPr>
              <a:xfrm>
                <a:off x="4255960" y="4930726"/>
                <a:ext cx="5013635" cy="1001150"/>
              </a:xfrm>
              <a:prstGeom prst="homePlate">
                <a:avLst>
                  <a:gd name="adj" fmla="val 30066"/>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5" name="Pentagon 4"/>
              <p:cNvSpPr/>
              <p:nvPr/>
            </p:nvSpPr>
            <p:spPr>
              <a:xfrm>
                <a:off x="4255960" y="3929575"/>
                <a:ext cx="5013635" cy="1001150"/>
              </a:xfrm>
              <a:prstGeom prst="homePlate">
                <a:avLst>
                  <a:gd name="adj" fmla="val 30066"/>
                </a:avLst>
              </a:prstGeom>
              <a:solidFill>
                <a:srgbClr val="002060"/>
              </a:solidFill>
              <a:ln>
                <a:noFill/>
              </a:ln>
              <a:effectLst>
                <a:outerShdw blurRad="406400" dist="393700" dir="2640000" sx="92000" sy="9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4" name="Pentagon 3"/>
              <p:cNvSpPr/>
              <p:nvPr/>
            </p:nvSpPr>
            <p:spPr>
              <a:xfrm>
                <a:off x="4255960" y="2928425"/>
                <a:ext cx="5013635" cy="1001150"/>
              </a:xfrm>
              <a:prstGeom prst="homePlate">
                <a:avLst>
                  <a:gd name="adj" fmla="val 30066"/>
                </a:avLst>
              </a:prstGeom>
              <a:solidFill>
                <a:srgbClr val="EE7700"/>
              </a:solidFill>
              <a:ln>
                <a:noFill/>
              </a:ln>
              <a:effectLst>
                <a:outerShdw blurRad="406400" dist="393700" dir="2640000" sx="92000" sy="9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3" name="Pentagon 2"/>
              <p:cNvSpPr/>
              <p:nvPr/>
            </p:nvSpPr>
            <p:spPr>
              <a:xfrm>
                <a:off x="4255960" y="1927275"/>
                <a:ext cx="5013635" cy="1001150"/>
              </a:xfrm>
              <a:prstGeom prst="homePlate">
                <a:avLst>
                  <a:gd name="adj" fmla="val 30066"/>
                </a:avLst>
              </a:prstGeom>
              <a:solidFill>
                <a:srgbClr val="92D050"/>
              </a:solidFill>
              <a:ln>
                <a:noFill/>
              </a:ln>
              <a:effectLst>
                <a:outerShdw blurRad="406400" dist="393700" dir="2640000" sx="92000" sy="9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 name="Pentagon 1"/>
              <p:cNvSpPr/>
              <p:nvPr/>
            </p:nvSpPr>
            <p:spPr>
              <a:xfrm>
                <a:off x="4255960" y="803187"/>
                <a:ext cx="5013635" cy="1124087"/>
              </a:xfrm>
              <a:prstGeom prst="homePlate">
                <a:avLst>
                  <a:gd name="adj" fmla="val 30066"/>
                </a:avLst>
              </a:prstGeom>
              <a:solidFill>
                <a:srgbClr val="C00000"/>
              </a:solidFill>
              <a:ln>
                <a:noFill/>
              </a:ln>
              <a:effectLst>
                <a:outerShdw blurRad="406400" dist="393700" dir="2640000" sx="92000" sy="9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8" name="Trapezoid 7"/>
              <p:cNvSpPr/>
              <p:nvPr/>
            </p:nvSpPr>
            <p:spPr>
              <a:xfrm rot="16200000">
                <a:off x="3122440" y="2796056"/>
                <a:ext cx="1001150" cy="1265889"/>
              </a:xfrm>
              <a:prstGeom prst="trapezoid">
                <a:avLst>
                  <a:gd name="adj" fmla="val 19750"/>
                </a:avLst>
              </a:prstGeom>
              <a:solidFill>
                <a:srgbClr val="EE7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13" name="Freeform 12"/>
              <p:cNvSpPr/>
              <p:nvPr/>
            </p:nvSpPr>
            <p:spPr>
              <a:xfrm rot="16200000" flipH="1">
                <a:off x="3023997" y="1893347"/>
                <a:ext cx="1198036" cy="1265891"/>
              </a:xfrm>
              <a:custGeom>
                <a:avLst/>
                <a:gdLst>
                  <a:gd name="connsiteX0" fmla="*/ 0 w 1389666"/>
                  <a:gd name="connsiteY0" fmla="*/ 1546862 h 1546862"/>
                  <a:gd name="connsiteX1" fmla="*/ 446532 w 1389666"/>
                  <a:gd name="connsiteY1" fmla="*/ 1546862 h 1546862"/>
                  <a:gd name="connsiteX2" fmla="*/ 594115 w 1389666"/>
                  <a:gd name="connsiteY2" fmla="*/ 1546862 h 1546862"/>
                  <a:gd name="connsiteX3" fmla="*/ 1163276 w 1389666"/>
                  <a:gd name="connsiteY3" fmla="*/ 1546862 h 1546862"/>
                  <a:gd name="connsiteX4" fmla="*/ 1389666 w 1389666"/>
                  <a:gd name="connsiteY4" fmla="*/ 0 h 1546862"/>
                  <a:gd name="connsiteX5" fmla="*/ 1161288 w 1389666"/>
                  <a:gd name="connsiteY5" fmla="*/ 0 h 1546862"/>
                  <a:gd name="connsiteX6" fmla="*/ 672922 w 1389666"/>
                  <a:gd name="connsiteY6" fmla="*/ 0 h 1546862"/>
                  <a:gd name="connsiteX7" fmla="*/ 567173 w 1389666"/>
                  <a:gd name="connsiteY7" fmla="*/ 0 h 154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9666" h="1546862">
                    <a:moveTo>
                      <a:pt x="0" y="1546862"/>
                    </a:moveTo>
                    <a:lnTo>
                      <a:pt x="446532" y="1546862"/>
                    </a:lnTo>
                    <a:lnTo>
                      <a:pt x="594115" y="1546862"/>
                    </a:lnTo>
                    <a:lnTo>
                      <a:pt x="1163276" y="1546862"/>
                    </a:lnTo>
                    <a:lnTo>
                      <a:pt x="1389666" y="0"/>
                    </a:lnTo>
                    <a:lnTo>
                      <a:pt x="1161288" y="0"/>
                    </a:lnTo>
                    <a:lnTo>
                      <a:pt x="672922" y="0"/>
                    </a:lnTo>
                    <a:lnTo>
                      <a:pt x="567173" y="0"/>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14" name="Freeform 13"/>
              <p:cNvSpPr/>
              <p:nvPr/>
            </p:nvSpPr>
            <p:spPr>
              <a:xfrm rot="16200000" flipH="1">
                <a:off x="2782755" y="1010502"/>
                <a:ext cx="1680519" cy="1265892"/>
              </a:xfrm>
              <a:custGeom>
                <a:avLst/>
                <a:gdLst>
                  <a:gd name="connsiteX0" fmla="*/ 0 w 1729902"/>
                  <a:gd name="connsiteY0" fmla="*/ 1546863 h 1546863"/>
                  <a:gd name="connsiteX1" fmla="*/ 565030 w 1729902"/>
                  <a:gd name="connsiteY1" fmla="*/ 1546863 h 1546863"/>
                  <a:gd name="connsiteX2" fmla="*/ 565030 w 1729902"/>
                  <a:gd name="connsiteY2" fmla="*/ 1546862 h 1546863"/>
                  <a:gd name="connsiteX3" fmla="*/ 1161908 w 1729902"/>
                  <a:gd name="connsiteY3" fmla="*/ 1546862 h 1546863"/>
                  <a:gd name="connsiteX4" fmla="*/ 1729902 w 1729902"/>
                  <a:gd name="connsiteY4" fmla="*/ 0 h 1546863"/>
                  <a:gd name="connsiteX5" fmla="*/ 1109177 w 1729902"/>
                  <a:gd name="connsiteY5" fmla="*/ 0 h 1546863"/>
                  <a:gd name="connsiteX6" fmla="*/ 1109177 w 1729902"/>
                  <a:gd name="connsiteY6" fmla="*/ 1 h 1546863"/>
                  <a:gd name="connsiteX7" fmla="*/ 737994 w 1729902"/>
                  <a:gd name="connsiteY7" fmla="*/ 1 h 154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9902" h="1546863">
                    <a:moveTo>
                      <a:pt x="0" y="1546863"/>
                    </a:moveTo>
                    <a:lnTo>
                      <a:pt x="565030" y="1546863"/>
                    </a:lnTo>
                    <a:lnTo>
                      <a:pt x="565030" y="1546862"/>
                    </a:lnTo>
                    <a:lnTo>
                      <a:pt x="1161908" y="1546862"/>
                    </a:lnTo>
                    <a:lnTo>
                      <a:pt x="1729902" y="0"/>
                    </a:lnTo>
                    <a:lnTo>
                      <a:pt x="1109177" y="0"/>
                    </a:lnTo>
                    <a:lnTo>
                      <a:pt x="1109177" y="1"/>
                    </a:lnTo>
                    <a:lnTo>
                      <a:pt x="737994" y="1"/>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15" name="Freeform 14"/>
              <p:cNvSpPr/>
              <p:nvPr/>
            </p:nvSpPr>
            <p:spPr>
              <a:xfrm rot="16200000">
                <a:off x="3023997" y="3698761"/>
                <a:ext cx="1198036" cy="1265891"/>
              </a:xfrm>
              <a:custGeom>
                <a:avLst/>
                <a:gdLst>
                  <a:gd name="connsiteX0" fmla="*/ 0 w 1389666"/>
                  <a:gd name="connsiteY0" fmla="*/ 1546862 h 1546862"/>
                  <a:gd name="connsiteX1" fmla="*/ 446532 w 1389666"/>
                  <a:gd name="connsiteY1" fmla="*/ 1546862 h 1546862"/>
                  <a:gd name="connsiteX2" fmla="*/ 594115 w 1389666"/>
                  <a:gd name="connsiteY2" fmla="*/ 1546862 h 1546862"/>
                  <a:gd name="connsiteX3" fmla="*/ 1163276 w 1389666"/>
                  <a:gd name="connsiteY3" fmla="*/ 1546862 h 1546862"/>
                  <a:gd name="connsiteX4" fmla="*/ 1389666 w 1389666"/>
                  <a:gd name="connsiteY4" fmla="*/ 0 h 1546862"/>
                  <a:gd name="connsiteX5" fmla="*/ 1161288 w 1389666"/>
                  <a:gd name="connsiteY5" fmla="*/ 0 h 1546862"/>
                  <a:gd name="connsiteX6" fmla="*/ 672922 w 1389666"/>
                  <a:gd name="connsiteY6" fmla="*/ 0 h 1546862"/>
                  <a:gd name="connsiteX7" fmla="*/ 567173 w 1389666"/>
                  <a:gd name="connsiteY7" fmla="*/ 0 h 154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9666" h="1546862">
                    <a:moveTo>
                      <a:pt x="0" y="1546862"/>
                    </a:moveTo>
                    <a:lnTo>
                      <a:pt x="446532" y="1546862"/>
                    </a:lnTo>
                    <a:lnTo>
                      <a:pt x="594115" y="1546862"/>
                    </a:lnTo>
                    <a:lnTo>
                      <a:pt x="1163276" y="1546862"/>
                    </a:lnTo>
                    <a:lnTo>
                      <a:pt x="1389666" y="0"/>
                    </a:lnTo>
                    <a:lnTo>
                      <a:pt x="1161288" y="0"/>
                    </a:lnTo>
                    <a:lnTo>
                      <a:pt x="672922" y="0"/>
                    </a:lnTo>
                    <a:lnTo>
                      <a:pt x="567173"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16" name="Freeform 15"/>
              <p:cNvSpPr/>
              <p:nvPr/>
            </p:nvSpPr>
            <p:spPr>
              <a:xfrm rot="16200000">
                <a:off x="2877338" y="4553253"/>
                <a:ext cx="1491354" cy="1265892"/>
              </a:xfrm>
              <a:custGeom>
                <a:avLst/>
                <a:gdLst>
                  <a:gd name="connsiteX0" fmla="*/ 0 w 1729902"/>
                  <a:gd name="connsiteY0" fmla="*/ 1546863 h 1546863"/>
                  <a:gd name="connsiteX1" fmla="*/ 565030 w 1729902"/>
                  <a:gd name="connsiteY1" fmla="*/ 1546863 h 1546863"/>
                  <a:gd name="connsiteX2" fmla="*/ 565030 w 1729902"/>
                  <a:gd name="connsiteY2" fmla="*/ 1546862 h 1546863"/>
                  <a:gd name="connsiteX3" fmla="*/ 1161908 w 1729902"/>
                  <a:gd name="connsiteY3" fmla="*/ 1546862 h 1546863"/>
                  <a:gd name="connsiteX4" fmla="*/ 1729902 w 1729902"/>
                  <a:gd name="connsiteY4" fmla="*/ 0 h 1546863"/>
                  <a:gd name="connsiteX5" fmla="*/ 1109177 w 1729902"/>
                  <a:gd name="connsiteY5" fmla="*/ 0 h 1546863"/>
                  <a:gd name="connsiteX6" fmla="*/ 1109177 w 1729902"/>
                  <a:gd name="connsiteY6" fmla="*/ 1 h 1546863"/>
                  <a:gd name="connsiteX7" fmla="*/ 737994 w 1729902"/>
                  <a:gd name="connsiteY7" fmla="*/ 1 h 154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9902" h="1546863">
                    <a:moveTo>
                      <a:pt x="0" y="1546863"/>
                    </a:moveTo>
                    <a:lnTo>
                      <a:pt x="565030" y="1546863"/>
                    </a:lnTo>
                    <a:lnTo>
                      <a:pt x="565030" y="1546862"/>
                    </a:lnTo>
                    <a:lnTo>
                      <a:pt x="1161908" y="1546862"/>
                    </a:lnTo>
                    <a:lnTo>
                      <a:pt x="1729902" y="0"/>
                    </a:lnTo>
                    <a:lnTo>
                      <a:pt x="1109177" y="0"/>
                    </a:lnTo>
                    <a:lnTo>
                      <a:pt x="1109177" y="1"/>
                    </a:lnTo>
                    <a:lnTo>
                      <a:pt x="737994" y="1"/>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3" name="Footer Text"/>
              <p:cNvSpPr txBox="1"/>
              <p:nvPr/>
            </p:nvSpPr>
            <p:spPr>
              <a:xfrm>
                <a:off x="4416031" y="1082791"/>
                <a:ext cx="4458864" cy="580651"/>
              </a:xfrm>
              <a:prstGeom prst="rect">
                <a:avLst/>
              </a:prstGeom>
              <a:noFill/>
            </p:spPr>
            <p:txBody>
              <a:bodyPr wrap="square" lIns="0" tIns="0" rIns="0" bIns="0" rtlCol="0" anchor="ctr">
                <a:spAutoFit/>
              </a:bodyPr>
              <a:lstStyle/>
              <a:p>
                <a:pPr>
                  <a:spcAft>
                    <a:spcPts val="776"/>
                  </a:spcAft>
                </a:pPr>
                <a:r>
                  <a:rPr lang="en-US" sz="1400" b="1">
                    <a:solidFill>
                      <a:schemeClr val="bg1">
                        <a:alpha val="80000"/>
                      </a:schemeClr>
                    </a:solidFill>
                    <a:ea typeface="Roboto" panose="02000000000000000000" pitchFamily="2" charset="0"/>
                  </a:rPr>
                  <a:t>PDPL, comprising of 43 articles, aims to protect individuals' personal data privacy and regulate organizations' collection, processing, disclosure, or retention of personal data.</a:t>
                </a:r>
                <a:endParaRPr lang="en-US" sz="900">
                  <a:solidFill>
                    <a:schemeClr val="bg1">
                      <a:alpha val="80000"/>
                    </a:schemeClr>
                  </a:solidFill>
                  <a:ea typeface="Roboto" panose="02000000000000000000" pitchFamily="2" charset="0"/>
                </a:endParaRPr>
              </a:p>
            </p:txBody>
          </p:sp>
          <p:sp>
            <p:nvSpPr>
              <p:cNvPr id="24" name="Footer Text"/>
              <p:cNvSpPr txBox="1"/>
              <p:nvPr/>
            </p:nvSpPr>
            <p:spPr>
              <a:xfrm>
                <a:off x="4416030" y="2040752"/>
                <a:ext cx="4458863" cy="774200"/>
              </a:xfrm>
              <a:prstGeom prst="rect">
                <a:avLst/>
              </a:prstGeom>
              <a:noFill/>
            </p:spPr>
            <p:txBody>
              <a:bodyPr wrap="square" lIns="0" tIns="0" rIns="0" bIns="0" rtlCol="0" anchor="ctr">
                <a:spAutoFit/>
              </a:bodyPr>
              <a:lstStyle/>
              <a:p>
                <a:pPr>
                  <a:spcAft>
                    <a:spcPts val="776"/>
                  </a:spcAft>
                </a:pPr>
                <a:r>
                  <a:rPr lang="en-US" sz="1400" b="1">
                    <a:solidFill>
                      <a:schemeClr val="bg1">
                        <a:alpha val="80000"/>
                      </a:schemeClr>
                    </a:solidFill>
                    <a:ea typeface="Roboto" panose="02000000000000000000" pitchFamily="2" charset="0"/>
                  </a:rPr>
                  <a:t>The Saudi Data &amp; Artificial Intelligence Authority (SDAIA) is the primary regulatory body that will enforce PDPL in KSA for the first two years, following which a transfer to the National Data Management Office will be considered.</a:t>
                </a:r>
                <a:endParaRPr lang="en-US" sz="900">
                  <a:solidFill>
                    <a:schemeClr val="bg1">
                      <a:alpha val="80000"/>
                    </a:schemeClr>
                  </a:solidFill>
                  <a:ea typeface="Roboto" panose="02000000000000000000" pitchFamily="2" charset="0"/>
                </a:endParaRPr>
              </a:p>
            </p:txBody>
          </p:sp>
          <p:sp>
            <p:nvSpPr>
              <p:cNvPr id="25" name="Footer Text"/>
              <p:cNvSpPr txBox="1"/>
              <p:nvPr/>
            </p:nvSpPr>
            <p:spPr>
              <a:xfrm>
                <a:off x="4416028" y="3041902"/>
                <a:ext cx="4536376" cy="774200"/>
              </a:xfrm>
              <a:prstGeom prst="rect">
                <a:avLst/>
              </a:prstGeom>
              <a:noFill/>
            </p:spPr>
            <p:txBody>
              <a:bodyPr wrap="square" lIns="0" tIns="0" rIns="0" bIns="0" rtlCol="0" anchor="ctr">
                <a:spAutoFit/>
              </a:bodyPr>
              <a:lstStyle/>
              <a:p>
                <a:pPr>
                  <a:spcAft>
                    <a:spcPts val="776"/>
                  </a:spcAft>
                </a:pPr>
                <a:r>
                  <a:rPr lang="en-US" sz="1400" b="1">
                    <a:solidFill>
                      <a:schemeClr val="bg1">
                        <a:alpha val="80000"/>
                      </a:schemeClr>
                    </a:solidFill>
                    <a:ea typeface="Roboto" panose="02000000000000000000" pitchFamily="2" charset="0"/>
                  </a:rPr>
                  <a:t>PDPL provides comprehensive requirements related to processing principles, data subjects' rights, organizations' obligations while processing the personal data of individuals, and cross-border data transfer mechanisms and lays out penalties for organizations in case of non-compliance with the PDPL.</a:t>
                </a:r>
                <a:endParaRPr lang="en-US" sz="900">
                  <a:solidFill>
                    <a:schemeClr val="bg1">
                      <a:alpha val="80000"/>
                    </a:schemeClr>
                  </a:solidFill>
                  <a:ea typeface="Roboto" panose="02000000000000000000" pitchFamily="2" charset="0"/>
                </a:endParaRPr>
              </a:p>
            </p:txBody>
          </p:sp>
          <p:sp>
            <p:nvSpPr>
              <p:cNvPr id="26" name="Footer Text"/>
              <p:cNvSpPr txBox="1"/>
              <p:nvPr/>
            </p:nvSpPr>
            <p:spPr>
              <a:xfrm>
                <a:off x="4416028" y="5127612"/>
                <a:ext cx="4536376" cy="580651"/>
              </a:xfrm>
              <a:prstGeom prst="rect">
                <a:avLst/>
              </a:prstGeom>
              <a:noFill/>
            </p:spPr>
            <p:txBody>
              <a:bodyPr wrap="square" lIns="0" tIns="0" rIns="0" bIns="0" rtlCol="0" anchor="ctr">
                <a:spAutoFit/>
              </a:bodyPr>
              <a:lstStyle/>
              <a:p>
                <a:pPr>
                  <a:spcAft>
                    <a:spcPts val="776"/>
                  </a:spcAft>
                </a:pPr>
                <a:r>
                  <a:rPr lang="en-US" sz="1400" b="1">
                    <a:solidFill>
                      <a:schemeClr val="bg1">
                        <a:alpha val="80000"/>
                      </a:schemeClr>
                    </a:solidFill>
                    <a:ea typeface="Roboto" panose="02000000000000000000" pitchFamily="2" charset="0"/>
                  </a:rPr>
                  <a:t>On 7th September 2023, SDAIA published the Implementing Regulations to the PDPL and the Personal Data Transfers Regulations. These regulations along with the PDPL will come into force and effect on 14 September 2024.</a:t>
                </a:r>
                <a:endParaRPr lang="en-US" sz="900">
                  <a:solidFill>
                    <a:schemeClr val="bg1">
                      <a:alpha val="80000"/>
                    </a:schemeClr>
                  </a:solidFill>
                  <a:ea typeface="Roboto" panose="02000000000000000000" pitchFamily="2" charset="0"/>
                </a:endParaRPr>
              </a:p>
            </p:txBody>
          </p:sp>
        </p:grpSp>
      </p:grpSp>
      <p:sp>
        <p:nvSpPr>
          <p:cNvPr id="9" name="Rectangle 8">
            <a:extLst>
              <a:ext uri="{FF2B5EF4-FFF2-40B4-BE49-F238E27FC236}">
                <a16:creationId xmlns:a16="http://schemas.microsoft.com/office/drawing/2014/main" id="{D8DC4B17-0498-FEB9-BFC7-41BB47E779ED}"/>
              </a:ext>
            </a:extLst>
          </p:cNvPr>
          <p:cNvSpPr/>
          <p:nvPr/>
        </p:nvSpPr>
        <p:spPr>
          <a:xfrm rot="16200000">
            <a:off x="-2440459" y="2440460"/>
            <a:ext cx="6301949" cy="14210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a:t>PDPL INTRODUCTION</a:t>
            </a:r>
          </a:p>
        </p:txBody>
      </p:sp>
      <p:pic>
        <p:nvPicPr>
          <p:cNvPr id="12" name="object 21">
            <a:extLst>
              <a:ext uri="{FF2B5EF4-FFF2-40B4-BE49-F238E27FC236}">
                <a16:creationId xmlns:a16="http://schemas.microsoft.com/office/drawing/2014/main" id="{F931E15C-BB70-14BD-B344-F5081183E232}"/>
              </a:ext>
            </a:extLst>
          </p:cNvPr>
          <p:cNvPicPr/>
          <p:nvPr/>
        </p:nvPicPr>
        <p:blipFill>
          <a:blip r:embed="rId2" cstate="print"/>
          <a:stretch>
            <a:fillRect/>
          </a:stretch>
        </p:blipFill>
        <p:spPr>
          <a:xfrm>
            <a:off x="10490547" y="238836"/>
            <a:ext cx="1409699" cy="486156"/>
          </a:xfrm>
          <a:prstGeom prst="rect">
            <a:avLst/>
          </a:prstGeom>
        </p:spPr>
      </p:pic>
      <p:pic>
        <p:nvPicPr>
          <p:cNvPr id="18" name="Picture 17" descr="A picture containing text&#10;&#10;Description automatically generated">
            <a:extLst>
              <a:ext uri="{FF2B5EF4-FFF2-40B4-BE49-F238E27FC236}">
                <a16:creationId xmlns:a16="http://schemas.microsoft.com/office/drawing/2014/main" id="{5038B48F-BE79-6EAA-864B-0C074E0C9A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9097" y="142320"/>
            <a:ext cx="1355754" cy="1119732"/>
          </a:xfrm>
          <a:prstGeom prst="rect">
            <a:avLst/>
          </a:prstGeom>
        </p:spPr>
      </p:pic>
      <p:pic>
        <p:nvPicPr>
          <p:cNvPr id="22" name="object 7">
            <a:extLst>
              <a:ext uri="{FF2B5EF4-FFF2-40B4-BE49-F238E27FC236}">
                <a16:creationId xmlns:a16="http://schemas.microsoft.com/office/drawing/2014/main" id="{748263F1-3D32-CCB2-D48C-CDDE5564EB53}"/>
              </a:ext>
            </a:extLst>
          </p:cNvPr>
          <p:cNvPicPr/>
          <p:nvPr/>
        </p:nvPicPr>
        <p:blipFill>
          <a:blip r:embed="rId4" cstate="print"/>
          <a:stretch>
            <a:fillRect/>
          </a:stretch>
        </p:blipFill>
        <p:spPr>
          <a:xfrm>
            <a:off x="10389979" y="4517866"/>
            <a:ext cx="1610834" cy="1915948"/>
          </a:xfrm>
          <a:prstGeom prst="rect">
            <a:avLst/>
          </a:prstGeom>
        </p:spPr>
      </p:pic>
      <p:sp>
        <p:nvSpPr>
          <p:cNvPr id="33" name="Footer Text">
            <a:extLst>
              <a:ext uri="{FF2B5EF4-FFF2-40B4-BE49-F238E27FC236}">
                <a16:creationId xmlns:a16="http://schemas.microsoft.com/office/drawing/2014/main" id="{06AAAE6D-7A38-09AB-CF30-629F52CD906C}"/>
              </a:ext>
            </a:extLst>
          </p:cNvPr>
          <p:cNvSpPr txBox="1"/>
          <p:nvPr/>
        </p:nvSpPr>
        <p:spPr>
          <a:xfrm>
            <a:off x="4205562" y="4342877"/>
            <a:ext cx="5655130" cy="861774"/>
          </a:xfrm>
          <a:prstGeom prst="rect">
            <a:avLst/>
          </a:prstGeom>
          <a:noFill/>
        </p:spPr>
        <p:txBody>
          <a:bodyPr wrap="square" lIns="0" tIns="0" rIns="0" bIns="0" rtlCol="0" anchor="ctr">
            <a:spAutoFit/>
          </a:bodyPr>
          <a:lstStyle/>
          <a:p>
            <a:pPr>
              <a:spcAft>
                <a:spcPts val="776"/>
              </a:spcAft>
            </a:pPr>
            <a:r>
              <a:rPr lang="en-US" sz="1400" b="1">
                <a:solidFill>
                  <a:schemeClr val="bg1">
                    <a:alpha val="80000"/>
                  </a:schemeClr>
                </a:solidFill>
                <a:ea typeface="Roboto" panose="02000000000000000000" pitchFamily="2" charset="0"/>
              </a:rPr>
              <a:t>The PDPL was originally set to be enforced on March 23, 2022. However, SDAIA submitted proposed amendments to the PDPL  for public consultation from 20th November 2022 till 20th December 2022. On March 21st, 2023, the Saudi Council of Ministers passed amendments to the PDPL.</a:t>
            </a:r>
            <a:endParaRPr lang="en-US" sz="900">
              <a:solidFill>
                <a:schemeClr val="bg1">
                  <a:alpha val="80000"/>
                </a:schemeClr>
              </a:solidFill>
              <a:ea typeface="Roboto" panose="02000000000000000000" pitchFamily="2" charset="0"/>
            </a:endParaRPr>
          </a:p>
        </p:txBody>
      </p:sp>
      <p:grpSp>
        <p:nvGrpSpPr>
          <p:cNvPr id="34" name="Group 33">
            <a:extLst>
              <a:ext uri="{FF2B5EF4-FFF2-40B4-BE49-F238E27FC236}">
                <a16:creationId xmlns:a16="http://schemas.microsoft.com/office/drawing/2014/main" id="{68324095-DF29-4E6E-62BB-5D7FC114C2C5}"/>
              </a:ext>
            </a:extLst>
          </p:cNvPr>
          <p:cNvGrpSpPr/>
          <p:nvPr/>
        </p:nvGrpSpPr>
        <p:grpSpPr>
          <a:xfrm>
            <a:off x="10648283" y="1002606"/>
            <a:ext cx="1251963" cy="518891"/>
            <a:chOff x="8189110" y="3038474"/>
            <a:chExt cx="2335238" cy="936000"/>
          </a:xfrm>
        </p:grpSpPr>
        <p:pic>
          <p:nvPicPr>
            <p:cNvPr id="35" name="Picture 34" descr="Logo, company name&#10;&#10;Description automatically generated">
              <a:extLst>
                <a:ext uri="{FF2B5EF4-FFF2-40B4-BE49-F238E27FC236}">
                  <a16:creationId xmlns:a16="http://schemas.microsoft.com/office/drawing/2014/main" id="{B248568D-7174-E1A0-5418-32DE6BC0DE8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9048749" y="3101699"/>
              <a:ext cx="1475599" cy="809550"/>
            </a:xfrm>
            <a:prstGeom prst="rect">
              <a:avLst/>
            </a:prstGeom>
          </p:spPr>
        </p:pic>
        <p:pic>
          <p:nvPicPr>
            <p:cNvPr id="36" name="Picture 35" descr="Logo, company name&#10;&#10;Description automatically generated">
              <a:extLst>
                <a:ext uri="{FF2B5EF4-FFF2-40B4-BE49-F238E27FC236}">
                  <a16:creationId xmlns:a16="http://schemas.microsoft.com/office/drawing/2014/main" id="{20B9D081-69B3-AC0A-20BE-EB06552DC2E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189110" y="3038474"/>
              <a:ext cx="818364" cy="936000"/>
            </a:xfrm>
            <a:prstGeom prst="rect">
              <a:avLst/>
            </a:prstGeom>
          </p:spPr>
        </p:pic>
      </p:grpSp>
    </p:spTree>
    <p:extLst>
      <p:ext uri="{BB962C8B-B14F-4D97-AF65-F5344CB8AC3E}">
        <p14:creationId xmlns:p14="http://schemas.microsoft.com/office/powerpoint/2010/main" val="9316149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757D637E-5872-457E-8BDA-2B80E75FB75B}"/>
              </a:ext>
            </a:extLst>
          </p:cNvPr>
          <p:cNvGrpSpPr/>
          <p:nvPr/>
        </p:nvGrpSpPr>
        <p:grpSpPr>
          <a:xfrm>
            <a:off x="3707027" y="1628598"/>
            <a:ext cx="4941902" cy="4639199"/>
            <a:chOff x="2439988" y="2344738"/>
            <a:chExt cx="2165350" cy="2168526"/>
          </a:xfrm>
        </p:grpSpPr>
        <p:sp>
          <p:nvSpPr>
            <p:cNvPr id="42" name="Freeform 11">
              <a:extLst>
                <a:ext uri="{FF2B5EF4-FFF2-40B4-BE49-F238E27FC236}">
                  <a16:creationId xmlns:a16="http://schemas.microsoft.com/office/drawing/2014/main" id="{E371ACE9-9564-47C6-9AB3-4B7A3323275B}"/>
                </a:ext>
              </a:extLst>
            </p:cNvPr>
            <p:cNvSpPr>
              <a:spLocks/>
            </p:cNvSpPr>
            <p:nvPr/>
          </p:nvSpPr>
          <p:spPr bwMode="auto">
            <a:xfrm>
              <a:off x="2439988" y="2900363"/>
              <a:ext cx="474663" cy="1057275"/>
            </a:xfrm>
            <a:custGeom>
              <a:avLst/>
              <a:gdLst>
                <a:gd name="T0" fmla="*/ 834 w 834"/>
                <a:gd name="T1" fmla="*/ 342 h 1858"/>
                <a:gd name="T2" fmla="*/ 720 w 834"/>
                <a:gd name="T3" fmla="*/ 276 h 1858"/>
                <a:gd name="T4" fmla="*/ 242 w 834"/>
                <a:gd name="T5" fmla="*/ 0 h 1858"/>
                <a:gd name="T6" fmla="*/ 0 w 834"/>
                <a:gd name="T7" fmla="*/ 929 h 1858"/>
                <a:gd name="T8" fmla="*/ 242 w 834"/>
                <a:gd name="T9" fmla="*/ 1858 h 1858"/>
                <a:gd name="T10" fmla="*/ 834 w 834"/>
                <a:gd name="T11" fmla="*/ 1516 h 1858"/>
                <a:gd name="T12" fmla="*/ 684 w 834"/>
                <a:gd name="T13" fmla="*/ 929 h 1858"/>
                <a:gd name="T14" fmla="*/ 834 w 834"/>
                <a:gd name="T15" fmla="*/ 342 h 18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4" h="1858">
                  <a:moveTo>
                    <a:pt x="834" y="342"/>
                  </a:moveTo>
                  <a:cubicBezTo>
                    <a:pt x="720" y="276"/>
                    <a:pt x="720" y="276"/>
                    <a:pt x="720" y="276"/>
                  </a:cubicBezTo>
                  <a:cubicBezTo>
                    <a:pt x="242" y="0"/>
                    <a:pt x="242" y="0"/>
                    <a:pt x="242" y="0"/>
                  </a:cubicBezTo>
                  <a:cubicBezTo>
                    <a:pt x="84" y="283"/>
                    <a:pt x="0" y="603"/>
                    <a:pt x="0" y="929"/>
                  </a:cubicBezTo>
                  <a:cubicBezTo>
                    <a:pt x="0" y="1255"/>
                    <a:pt x="84" y="1575"/>
                    <a:pt x="242" y="1858"/>
                  </a:cubicBezTo>
                  <a:cubicBezTo>
                    <a:pt x="834" y="1516"/>
                    <a:pt x="834" y="1516"/>
                    <a:pt x="834" y="1516"/>
                  </a:cubicBezTo>
                  <a:cubicBezTo>
                    <a:pt x="736" y="1337"/>
                    <a:pt x="684" y="1135"/>
                    <a:pt x="684" y="929"/>
                  </a:cubicBezTo>
                  <a:cubicBezTo>
                    <a:pt x="684" y="723"/>
                    <a:pt x="736" y="521"/>
                    <a:pt x="834" y="34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12">
              <a:extLst>
                <a:ext uri="{FF2B5EF4-FFF2-40B4-BE49-F238E27FC236}">
                  <a16:creationId xmlns:a16="http://schemas.microsoft.com/office/drawing/2014/main" id="{4D5D7F66-E871-450D-86FF-F33B5C6773D8}"/>
                </a:ext>
              </a:extLst>
            </p:cNvPr>
            <p:cNvSpPr>
              <a:spLocks/>
            </p:cNvSpPr>
            <p:nvPr/>
          </p:nvSpPr>
          <p:spPr bwMode="auto">
            <a:xfrm>
              <a:off x="2593975" y="2344738"/>
              <a:ext cx="912813" cy="723900"/>
            </a:xfrm>
            <a:custGeom>
              <a:avLst/>
              <a:gdLst>
                <a:gd name="T0" fmla="*/ 1017 w 1608"/>
                <a:gd name="T1" fmla="*/ 852 h 1271"/>
                <a:gd name="T2" fmla="*/ 1608 w 1608"/>
                <a:gd name="T3" fmla="*/ 684 h 1271"/>
                <a:gd name="T4" fmla="*/ 1608 w 1608"/>
                <a:gd name="T5" fmla="*/ 0 h 1271"/>
                <a:gd name="T6" fmla="*/ 0 w 1608"/>
                <a:gd name="T7" fmla="*/ 929 h 1271"/>
                <a:gd name="T8" fmla="*/ 200 w 1608"/>
                <a:gd name="T9" fmla="*/ 1044 h 1271"/>
                <a:gd name="T10" fmla="*/ 592 w 1608"/>
                <a:gd name="T11" fmla="*/ 1271 h 1271"/>
                <a:gd name="T12" fmla="*/ 1017 w 1608"/>
                <a:gd name="T13" fmla="*/ 852 h 1271"/>
              </a:gdLst>
              <a:ahLst/>
              <a:cxnLst>
                <a:cxn ang="0">
                  <a:pos x="T0" y="T1"/>
                </a:cxn>
                <a:cxn ang="0">
                  <a:pos x="T2" y="T3"/>
                </a:cxn>
                <a:cxn ang="0">
                  <a:pos x="T4" y="T5"/>
                </a:cxn>
                <a:cxn ang="0">
                  <a:pos x="T6" y="T7"/>
                </a:cxn>
                <a:cxn ang="0">
                  <a:pos x="T8" y="T9"/>
                </a:cxn>
                <a:cxn ang="0">
                  <a:pos x="T10" y="T11"/>
                </a:cxn>
                <a:cxn ang="0">
                  <a:pos x="T12" y="T13"/>
                </a:cxn>
              </a:cxnLst>
              <a:rect l="0" t="0" r="r" b="b"/>
              <a:pathLst>
                <a:path w="1608" h="1271">
                  <a:moveTo>
                    <a:pt x="1017" y="852"/>
                  </a:moveTo>
                  <a:cubicBezTo>
                    <a:pt x="1196" y="746"/>
                    <a:pt x="1400" y="688"/>
                    <a:pt x="1608" y="684"/>
                  </a:cubicBezTo>
                  <a:cubicBezTo>
                    <a:pt x="1608" y="0"/>
                    <a:pt x="1608" y="0"/>
                    <a:pt x="1608" y="0"/>
                  </a:cubicBezTo>
                  <a:cubicBezTo>
                    <a:pt x="950" y="10"/>
                    <a:pt x="338" y="363"/>
                    <a:pt x="0" y="929"/>
                  </a:cubicBezTo>
                  <a:cubicBezTo>
                    <a:pt x="200" y="1044"/>
                    <a:pt x="200" y="1044"/>
                    <a:pt x="200" y="1044"/>
                  </a:cubicBezTo>
                  <a:cubicBezTo>
                    <a:pt x="592" y="1271"/>
                    <a:pt x="592" y="1271"/>
                    <a:pt x="592" y="1271"/>
                  </a:cubicBezTo>
                  <a:cubicBezTo>
                    <a:pt x="697" y="1099"/>
                    <a:pt x="843" y="954"/>
                    <a:pt x="1017" y="8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13">
              <a:extLst>
                <a:ext uri="{FF2B5EF4-FFF2-40B4-BE49-F238E27FC236}">
                  <a16:creationId xmlns:a16="http://schemas.microsoft.com/office/drawing/2014/main" id="{392F4482-0255-43E0-B608-8FF08719B00E}"/>
                </a:ext>
              </a:extLst>
            </p:cNvPr>
            <p:cNvSpPr>
              <a:spLocks/>
            </p:cNvSpPr>
            <p:nvPr/>
          </p:nvSpPr>
          <p:spPr bwMode="auto">
            <a:xfrm>
              <a:off x="3538538" y="2344738"/>
              <a:ext cx="914400" cy="723900"/>
            </a:xfrm>
            <a:custGeom>
              <a:avLst/>
              <a:gdLst>
                <a:gd name="T0" fmla="*/ 1017 w 1609"/>
                <a:gd name="T1" fmla="*/ 1271 h 1271"/>
                <a:gd name="T2" fmla="*/ 1609 w 1609"/>
                <a:gd name="T3" fmla="*/ 929 h 1271"/>
                <a:gd name="T4" fmla="*/ 0 w 1609"/>
                <a:gd name="T5" fmla="*/ 0 h 1271"/>
                <a:gd name="T6" fmla="*/ 0 w 1609"/>
                <a:gd name="T7" fmla="*/ 684 h 1271"/>
                <a:gd name="T8" fmla="*/ 592 w 1609"/>
                <a:gd name="T9" fmla="*/ 852 h 1271"/>
                <a:gd name="T10" fmla="*/ 1017 w 1609"/>
                <a:gd name="T11" fmla="*/ 1271 h 1271"/>
              </a:gdLst>
              <a:ahLst/>
              <a:cxnLst>
                <a:cxn ang="0">
                  <a:pos x="T0" y="T1"/>
                </a:cxn>
                <a:cxn ang="0">
                  <a:pos x="T2" y="T3"/>
                </a:cxn>
                <a:cxn ang="0">
                  <a:pos x="T4" y="T5"/>
                </a:cxn>
                <a:cxn ang="0">
                  <a:pos x="T6" y="T7"/>
                </a:cxn>
                <a:cxn ang="0">
                  <a:pos x="T8" y="T9"/>
                </a:cxn>
                <a:cxn ang="0">
                  <a:pos x="T10" y="T11"/>
                </a:cxn>
              </a:cxnLst>
              <a:rect l="0" t="0" r="r" b="b"/>
              <a:pathLst>
                <a:path w="1609" h="1271">
                  <a:moveTo>
                    <a:pt x="1017" y="1271"/>
                  </a:moveTo>
                  <a:cubicBezTo>
                    <a:pt x="1609" y="929"/>
                    <a:pt x="1609" y="929"/>
                    <a:pt x="1609" y="929"/>
                  </a:cubicBezTo>
                  <a:cubicBezTo>
                    <a:pt x="1271" y="363"/>
                    <a:pt x="659" y="10"/>
                    <a:pt x="0" y="0"/>
                  </a:cubicBezTo>
                  <a:cubicBezTo>
                    <a:pt x="0" y="684"/>
                    <a:pt x="0" y="684"/>
                    <a:pt x="0" y="684"/>
                  </a:cubicBezTo>
                  <a:cubicBezTo>
                    <a:pt x="209" y="688"/>
                    <a:pt x="413" y="746"/>
                    <a:pt x="592" y="852"/>
                  </a:cubicBezTo>
                  <a:cubicBezTo>
                    <a:pt x="766" y="954"/>
                    <a:pt x="912" y="1099"/>
                    <a:pt x="1017" y="127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14">
              <a:extLst>
                <a:ext uri="{FF2B5EF4-FFF2-40B4-BE49-F238E27FC236}">
                  <a16:creationId xmlns:a16="http://schemas.microsoft.com/office/drawing/2014/main" id="{D92AC9DF-3895-4D09-9CB5-73EE63491512}"/>
                </a:ext>
              </a:extLst>
            </p:cNvPr>
            <p:cNvSpPr>
              <a:spLocks/>
            </p:cNvSpPr>
            <p:nvPr/>
          </p:nvSpPr>
          <p:spPr bwMode="auto">
            <a:xfrm>
              <a:off x="4132263" y="2900363"/>
              <a:ext cx="473075" cy="1057275"/>
            </a:xfrm>
            <a:custGeom>
              <a:avLst/>
              <a:gdLst>
                <a:gd name="T0" fmla="*/ 150 w 833"/>
                <a:gd name="T1" fmla="*/ 929 h 1858"/>
                <a:gd name="T2" fmla="*/ 0 w 833"/>
                <a:gd name="T3" fmla="*/ 1516 h 1858"/>
                <a:gd name="T4" fmla="*/ 114 w 833"/>
                <a:gd name="T5" fmla="*/ 1582 h 1858"/>
                <a:gd name="T6" fmla="*/ 592 w 833"/>
                <a:gd name="T7" fmla="*/ 1858 h 1858"/>
                <a:gd name="T8" fmla="*/ 833 w 833"/>
                <a:gd name="T9" fmla="*/ 929 h 1858"/>
                <a:gd name="T10" fmla="*/ 592 w 833"/>
                <a:gd name="T11" fmla="*/ 0 h 1858"/>
                <a:gd name="T12" fmla="*/ 0 w 833"/>
                <a:gd name="T13" fmla="*/ 342 h 1858"/>
                <a:gd name="T14" fmla="*/ 150 w 833"/>
                <a:gd name="T15" fmla="*/ 929 h 18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3" h="1858">
                  <a:moveTo>
                    <a:pt x="150" y="929"/>
                  </a:moveTo>
                  <a:cubicBezTo>
                    <a:pt x="150" y="1135"/>
                    <a:pt x="98" y="1337"/>
                    <a:pt x="0" y="1516"/>
                  </a:cubicBezTo>
                  <a:cubicBezTo>
                    <a:pt x="114" y="1582"/>
                    <a:pt x="114" y="1582"/>
                    <a:pt x="114" y="1582"/>
                  </a:cubicBezTo>
                  <a:cubicBezTo>
                    <a:pt x="592" y="1858"/>
                    <a:pt x="592" y="1858"/>
                    <a:pt x="592" y="1858"/>
                  </a:cubicBezTo>
                  <a:cubicBezTo>
                    <a:pt x="750" y="1575"/>
                    <a:pt x="833" y="1255"/>
                    <a:pt x="833" y="929"/>
                  </a:cubicBezTo>
                  <a:cubicBezTo>
                    <a:pt x="833" y="603"/>
                    <a:pt x="750" y="283"/>
                    <a:pt x="592" y="0"/>
                  </a:cubicBezTo>
                  <a:cubicBezTo>
                    <a:pt x="0" y="342"/>
                    <a:pt x="0" y="342"/>
                    <a:pt x="0" y="342"/>
                  </a:cubicBezTo>
                  <a:cubicBezTo>
                    <a:pt x="98" y="521"/>
                    <a:pt x="150" y="723"/>
                    <a:pt x="150" y="92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15">
              <a:extLst>
                <a:ext uri="{FF2B5EF4-FFF2-40B4-BE49-F238E27FC236}">
                  <a16:creationId xmlns:a16="http://schemas.microsoft.com/office/drawing/2014/main" id="{5E3774D6-1570-4FAA-B398-651AA1904D15}"/>
                </a:ext>
              </a:extLst>
            </p:cNvPr>
            <p:cNvSpPr>
              <a:spLocks/>
            </p:cNvSpPr>
            <p:nvPr/>
          </p:nvSpPr>
          <p:spPr bwMode="auto">
            <a:xfrm>
              <a:off x="3538538" y="3790951"/>
              <a:ext cx="914400" cy="722313"/>
            </a:xfrm>
            <a:custGeom>
              <a:avLst/>
              <a:gdLst>
                <a:gd name="T0" fmla="*/ 592 w 1609"/>
                <a:gd name="T1" fmla="*/ 419 h 1271"/>
                <a:gd name="T2" fmla="*/ 0 w 1609"/>
                <a:gd name="T3" fmla="*/ 587 h 1271"/>
                <a:gd name="T4" fmla="*/ 0 w 1609"/>
                <a:gd name="T5" fmla="*/ 1271 h 1271"/>
                <a:gd name="T6" fmla="*/ 1609 w 1609"/>
                <a:gd name="T7" fmla="*/ 342 h 1271"/>
                <a:gd name="T8" fmla="*/ 1017 w 1609"/>
                <a:gd name="T9" fmla="*/ 0 h 1271"/>
                <a:gd name="T10" fmla="*/ 592 w 1609"/>
                <a:gd name="T11" fmla="*/ 419 h 1271"/>
              </a:gdLst>
              <a:ahLst/>
              <a:cxnLst>
                <a:cxn ang="0">
                  <a:pos x="T0" y="T1"/>
                </a:cxn>
                <a:cxn ang="0">
                  <a:pos x="T2" y="T3"/>
                </a:cxn>
                <a:cxn ang="0">
                  <a:pos x="T4" y="T5"/>
                </a:cxn>
                <a:cxn ang="0">
                  <a:pos x="T6" y="T7"/>
                </a:cxn>
                <a:cxn ang="0">
                  <a:pos x="T8" y="T9"/>
                </a:cxn>
                <a:cxn ang="0">
                  <a:pos x="T10" y="T11"/>
                </a:cxn>
              </a:cxnLst>
              <a:rect l="0" t="0" r="r" b="b"/>
              <a:pathLst>
                <a:path w="1609" h="1271">
                  <a:moveTo>
                    <a:pt x="592" y="419"/>
                  </a:moveTo>
                  <a:cubicBezTo>
                    <a:pt x="413" y="525"/>
                    <a:pt x="209" y="583"/>
                    <a:pt x="0" y="587"/>
                  </a:cubicBezTo>
                  <a:cubicBezTo>
                    <a:pt x="0" y="1271"/>
                    <a:pt x="0" y="1271"/>
                    <a:pt x="0" y="1271"/>
                  </a:cubicBezTo>
                  <a:cubicBezTo>
                    <a:pt x="659" y="1261"/>
                    <a:pt x="1271" y="908"/>
                    <a:pt x="1609" y="342"/>
                  </a:cubicBezTo>
                  <a:cubicBezTo>
                    <a:pt x="1017" y="0"/>
                    <a:pt x="1017" y="0"/>
                    <a:pt x="1017" y="0"/>
                  </a:cubicBezTo>
                  <a:cubicBezTo>
                    <a:pt x="912" y="172"/>
                    <a:pt x="766" y="317"/>
                    <a:pt x="592" y="4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16">
              <a:extLst>
                <a:ext uri="{FF2B5EF4-FFF2-40B4-BE49-F238E27FC236}">
                  <a16:creationId xmlns:a16="http://schemas.microsoft.com/office/drawing/2014/main" id="{6D26082B-8DB4-4DD3-96A2-6146BA3E0417}"/>
                </a:ext>
              </a:extLst>
            </p:cNvPr>
            <p:cNvSpPr>
              <a:spLocks/>
            </p:cNvSpPr>
            <p:nvPr/>
          </p:nvSpPr>
          <p:spPr bwMode="auto">
            <a:xfrm>
              <a:off x="2593975" y="3790951"/>
              <a:ext cx="912813" cy="722313"/>
            </a:xfrm>
            <a:custGeom>
              <a:avLst/>
              <a:gdLst>
                <a:gd name="T0" fmla="*/ 1017 w 1608"/>
                <a:gd name="T1" fmla="*/ 419 h 1271"/>
                <a:gd name="T2" fmla="*/ 592 w 1608"/>
                <a:gd name="T3" fmla="*/ 0 h 1271"/>
                <a:gd name="T4" fmla="*/ 0 w 1608"/>
                <a:gd name="T5" fmla="*/ 342 h 1271"/>
                <a:gd name="T6" fmla="*/ 1608 w 1608"/>
                <a:gd name="T7" fmla="*/ 1271 h 1271"/>
                <a:gd name="T8" fmla="*/ 1608 w 1608"/>
                <a:gd name="T9" fmla="*/ 587 h 1271"/>
                <a:gd name="T10" fmla="*/ 1017 w 1608"/>
                <a:gd name="T11" fmla="*/ 419 h 1271"/>
              </a:gdLst>
              <a:ahLst/>
              <a:cxnLst>
                <a:cxn ang="0">
                  <a:pos x="T0" y="T1"/>
                </a:cxn>
                <a:cxn ang="0">
                  <a:pos x="T2" y="T3"/>
                </a:cxn>
                <a:cxn ang="0">
                  <a:pos x="T4" y="T5"/>
                </a:cxn>
                <a:cxn ang="0">
                  <a:pos x="T6" y="T7"/>
                </a:cxn>
                <a:cxn ang="0">
                  <a:pos x="T8" y="T9"/>
                </a:cxn>
                <a:cxn ang="0">
                  <a:pos x="T10" y="T11"/>
                </a:cxn>
              </a:cxnLst>
              <a:rect l="0" t="0" r="r" b="b"/>
              <a:pathLst>
                <a:path w="1608" h="1271">
                  <a:moveTo>
                    <a:pt x="1017" y="419"/>
                  </a:moveTo>
                  <a:cubicBezTo>
                    <a:pt x="843" y="317"/>
                    <a:pt x="697" y="172"/>
                    <a:pt x="592" y="0"/>
                  </a:cubicBezTo>
                  <a:cubicBezTo>
                    <a:pt x="0" y="342"/>
                    <a:pt x="0" y="342"/>
                    <a:pt x="0" y="342"/>
                  </a:cubicBezTo>
                  <a:cubicBezTo>
                    <a:pt x="338" y="908"/>
                    <a:pt x="950" y="1261"/>
                    <a:pt x="1608" y="1271"/>
                  </a:cubicBezTo>
                  <a:cubicBezTo>
                    <a:pt x="1608" y="587"/>
                    <a:pt x="1608" y="587"/>
                    <a:pt x="1608" y="587"/>
                  </a:cubicBezTo>
                  <a:cubicBezTo>
                    <a:pt x="1400" y="583"/>
                    <a:pt x="1196" y="525"/>
                    <a:pt x="1017" y="4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47">
              <a:extLst>
                <a:ext uri="{FF2B5EF4-FFF2-40B4-BE49-F238E27FC236}">
                  <a16:creationId xmlns:a16="http://schemas.microsoft.com/office/drawing/2014/main" id="{F4DC802A-73D5-4F91-A0F0-FDAC1D05532D}"/>
                </a:ext>
              </a:extLst>
            </p:cNvPr>
            <p:cNvSpPr>
              <a:spLocks/>
            </p:cNvSpPr>
            <p:nvPr/>
          </p:nvSpPr>
          <p:spPr bwMode="auto">
            <a:xfrm>
              <a:off x="2933700" y="2838451"/>
              <a:ext cx="573088" cy="1181100"/>
            </a:xfrm>
            <a:custGeom>
              <a:avLst/>
              <a:gdLst>
                <a:gd name="T0" fmla="*/ 0 w 1010"/>
                <a:gd name="T1" fmla="*/ 1038 h 2076"/>
                <a:gd name="T2" fmla="*/ 1010 w 1010"/>
                <a:gd name="T3" fmla="*/ 2076 h 2076"/>
                <a:gd name="T4" fmla="*/ 1010 w 1010"/>
                <a:gd name="T5" fmla="*/ 0 h 2076"/>
                <a:gd name="T6" fmla="*/ 0 w 1010"/>
                <a:gd name="T7" fmla="*/ 1038 h 2076"/>
              </a:gdLst>
              <a:ahLst/>
              <a:cxnLst>
                <a:cxn ang="0">
                  <a:pos x="T0" y="T1"/>
                </a:cxn>
                <a:cxn ang="0">
                  <a:pos x="T2" y="T3"/>
                </a:cxn>
                <a:cxn ang="0">
                  <a:pos x="T4" y="T5"/>
                </a:cxn>
                <a:cxn ang="0">
                  <a:pos x="T6" y="T7"/>
                </a:cxn>
              </a:cxnLst>
              <a:rect l="0" t="0" r="r" b="b"/>
              <a:pathLst>
                <a:path w="1010" h="2076">
                  <a:moveTo>
                    <a:pt x="0" y="1038"/>
                  </a:moveTo>
                  <a:cubicBezTo>
                    <a:pt x="0" y="1601"/>
                    <a:pt x="451" y="2061"/>
                    <a:pt x="1010" y="2076"/>
                  </a:cubicBezTo>
                  <a:cubicBezTo>
                    <a:pt x="1010" y="0"/>
                    <a:pt x="1010" y="0"/>
                    <a:pt x="1010" y="0"/>
                  </a:cubicBezTo>
                  <a:cubicBezTo>
                    <a:pt x="451" y="15"/>
                    <a:pt x="0" y="475"/>
                    <a:pt x="0" y="10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48">
              <a:extLst>
                <a:ext uri="{FF2B5EF4-FFF2-40B4-BE49-F238E27FC236}">
                  <a16:creationId xmlns:a16="http://schemas.microsoft.com/office/drawing/2014/main" id="{5FC667C8-7B77-48A7-BB95-D01CB39F5FEE}"/>
                </a:ext>
              </a:extLst>
            </p:cNvPr>
            <p:cNvSpPr>
              <a:spLocks/>
            </p:cNvSpPr>
            <p:nvPr/>
          </p:nvSpPr>
          <p:spPr bwMode="auto">
            <a:xfrm>
              <a:off x="3538538" y="2838451"/>
              <a:ext cx="574675" cy="1181100"/>
            </a:xfrm>
            <a:custGeom>
              <a:avLst/>
              <a:gdLst>
                <a:gd name="T0" fmla="*/ 1011 w 1011"/>
                <a:gd name="T1" fmla="*/ 1038 h 2076"/>
                <a:gd name="T2" fmla="*/ 0 w 1011"/>
                <a:gd name="T3" fmla="*/ 0 h 2076"/>
                <a:gd name="T4" fmla="*/ 0 w 1011"/>
                <a:gd name="T5" fmla="*/ 2076 h 2076"/>
                <a:gd name="T6" fmla="*/ 1011 w 1011"/>
                <a:gd name="T7" fmla="*/ 1038 h 2076"/>
              </a:gdLst>
              <a:ahLst/>
              <a:cxnLst>
                <a:cxn ang="0">
                  <a:pos x="T0" y="T1"/>
                </a:cxn>
                <a:cxn ang="0">
                  <a:pos x="T2" y="T3"/>
                </a:cxn>
                <a:cxn ang="0">
                  <a:pos x="T4" y="T5"/>
                </a:cxn>
                <a:cxn ang="0">
                  <a:pos x="T6" y="T7"/>
                </a:cxn>
              </a:cxnLst>
              <a:rect l="0" t="0" r="r" b="b"/>
              <a:pathLst>
                <a:path w="1011" h="2076">
                  <a:moveTo>
                    <a:pt x="1011" y="1038"/>
                  </a:moveTo>
                  <a:cubicBezTo>
                    <a:pt x="1011" y="475"/>
                    <a:pt x="560" y="15"/>
                    <a:pt x="0" y="0"/>
                  </a:cubicBezTo>
                  <a:cubicBezTo>
                    <a:pt x="0" y="2076"/>
                    <a:pt x="0" y="2076"/>
                    <a:pt x="0" y="2076"/>
                  </a:cubicBezTo>
                  <a:cubicBezTo>
                    <a:pt x="560" y="2061"/>
                    <a:pt x="1011" y="1601"/>
                    <a:pt x="1011" y="103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2" name="TextBox 51">
            <a:extLst>
              <a:ext uri="{FF2B5EF4-FFF2-40B4-BE49-F238E27FC236}">
                <a16:creationId xmlns:a16="http://schemas.microsoft.com/office/drawing/2014/main" id="{CA299DD8-CDF4-4489-9566-3CE148413519}"/>
              </a:ext>
            </a:extLst>
          </p:cNvPr>
          <p:cNvSpPr txBox="1"/>
          <p:nvPr/>
        </p:nvSpPr>
        <p:spPr>
          <a:xfrm>
            <a:off x="8957232" y="2424702"/>
            <a:ext cx="2714248" cy="3046988"/>
          </a:xfrm>
          <a:prstGeom prst="rect">
            <a:avLst/>
          </a:prstGeom>
          <a:noFill/>
          <a:ln>
            <a:noFill/>
          </a:ln>
        </p:spPr>
        <p:txBody>
          <a:bodyPr wrap="square" anchor="ctr">
            <a:spAutoFit/>
          </a:bodyPr>
          <a:lstStyle/>
          <a:p>
            <a:pPr marL="285750" indent="-285750">
              <a:buFont typeface="Wingdings" panose="05000000000000000000" pitchFamily="2" charset="2"/>
              <a:buChar char="Ø"/>
            </a:pPr>
            <a:r>
              <a:rPr lang="en-US" sz="1600">
                <a:latin typeface="Calibri" panose="020F0502020204030204" pitchFamily="34" charset="0"/>
                <a:cs typeface="Calibri" panose="020F0502020204030204" pitchFamily="34" charset="0"/>
              </a:rPr>
              <a:t>The PDPL applies to public or private organizations that process personal data related to individuals in Saudi Arabia by any means. </a:t>
            </a:r>
          </a:p>
          <a:p>
            <a:pPr marL="285750" indent="-285750">
              <a:buFont typeface="Wingdings" panose="05000000000000000000" pitchFamily="2" charset="2"/>
              <a:buChar char="Ø"/>
            </a:pPr>
            <a:r>
              <a:rPr lang="en-US" sz="1600">
                <a:latin typeface="Calibri" panose="020F0502020204030204" pitchFamily="34" charset="0"/>
                <a:cs typeface="Calibri" panose="020F0502020204030204" pitchFamily="34" charset="0"/>
              </a:rPr>
              <a:t>If a foreign organization processes personal data related to individuals residing in Saudi Arabia, then the PDPL will also apply.</a:t>
            </a:r>
          </a:p>
        </p:txBody>
      </p:sp>
      <p:sp>
        <p:nvSpPr>
          <p:cNvPr id="53" name="TextBox 52">
            <a:extLst>
              <a:ext uri="{FF2B5EF4-FFF2-40B4-BE49-F238E27FC236}">
                <a16:creationId xmlns:a16="http://schemas.microsoft.com/office/drawing/2014/main" id="{0CBA0527-68CF-4208-A835-230809B4BC02}"/>
              </a:ext>
            </a:extLst>
          </p:cNvPr>
          <p:cNvSpPr txBox="1"/>
          <p:nvPr/>
        </p:nvSpPr>
        <p:spPr>
          <a:xfrm>
            <a:off x="448061" y="2143569"/>
            <a:ext cx="3010788" cy="3539430"/>
          </a:xfrm>
          <a:prstGeom prst="rect">
            <a:avLst/>
          </a:prstGeom>
          <a:noFill/>
          <a:ln>
            <a:noFill/>
          </a:ln>
        </p:spPr>
        <p:txBody>
          <a:bodyPr wrap="square" anchor="ctr">
            <a:spAutoFit/>
          </a:bodyPr>
          <a:lstStyle/>
          <a:p>
            <a:pPr marL="285750" indent="-285750">
              <a:buFont typeface="Wingdings" panose="05000000000000000000" pitchFamily="2" charset="2"/>
              <a:buChar char="Ø"/>
            </a:pPr>
            <a:r>
              <a:rPr lang="en-US" sz="1600">
                <a:latin typeface="Calibri" panose="020F0502020204030204" pitchFamily="34" charset="0"/>
                <a:cs typeface="Calibri" panose="020F0502020204030204" pitchFamily="34" charset="0"/>
              </a:rPr>
              <a:t>The PDPL applies to the processing of personal data and sensitive personal data related to individuals residing in Saudi Arabia. </a:t>
            </a:r>
          </a:p>
          <a:p>
            <a:pPr marL="285750" indent="-285750">
              <a:buFont typeface="Wingdings" panose="05000000000000000000" pitchFamily="2" charset="2"/>
              <a:buChar char="Ø"/>
            </a:pPr>
            <a:r>
              <a:rPr lang="en-US" sz="1600">
                <a:latin typeface="Calibri" panose="020F0502020204030204" pitchFamily="34" charset="0"/>
                <a:cs typeface="Calibri" panose="020F0502020204030204" pitchFamily="34" charset="0"/>
              </a:rPr>
              <a:t>The PDPL also covers the deceased’s personal data, if it would lead to identifying the deceased or one of his/her family members specifically. </a:t>
            </a:r>
          </a:p>
          <a:p>
            <a:pPr marL="285750" indent="-285750">
              <a:buFont typeface="Wingdings" panose="05000000000000000000" pitchFamily="2" charset="2"/>
              <a:buChar char="Ø"/>
            </a:pPr>
            <a:r>
              <a:rPr lang="en-US" sz="1600">
                <a:latin typeface="Calibri" panose="020F0502020204030204" pitchFamily="34" charset="0"/>
                <a:cs typeface="Calibri" panose="020F0502020204030204" pitchFamily="34" charset="0"/>
              </a:rPr>
              <a:t>The PDPL excludes the processing of personal data for domestic purposes from its application scope.</a:t>
            </a:r>
          </a:p>
        </p:txBody>
      </p:sp>
      <p:sp>
        <p:nvSpPr>
          <p:cNvPr id="62" name="TextBox 61">
            <a:extLst>
              <a:ext uri="{FF2B5EF4-FFF2-40B4-BE49-F238E27FC236}">
                <a16:creationId xmlns:a16="http://schemas.microsoft.com/office/drawing/2014/main" id="{47DD3D30-7107-49FC-98A1-118AD71AF2AF}"/>
              </a:ext>
            </a:extLst>
          </p:cNvPr>
          <p:cNvSpPr txBox="1"/>
          <p:nvPr/>
        </p:nvSpPr>
        <p:spPr>
          <a:xfrm rot="16200000">
            <a:off x="4682923" y="3667522"/>
            <a:ext cx="2037716" cy="369332"/>
          </a:xfrm>
          <a:prstGeom prst="rect">
            <a:avLst/>
          </a:prstGeom>
          <a:noFill/>
        </p:spPr>
        <p:txBody>
          <a:bodyPr wrap="square" anchor="ctr">
            <a:spAutoFit/>
          </a:bodyPr>
          <a:lstStyle/>
          <a:p>
            <a:pPr algn="l"/>
            <a:r>
              <a:rPr lang="en-US" b="1" i="0">
                <a:solidFill>
                  <a:schemeClr val="bg1"/>
                </a:solidFill>
                <a:effectLst/>
              </a:rPr>
              <a:t>MATERIAL SCOPE</a:t>
            </a:r>
          </a:p>
        </p:txBody>
      </p:sp>
      <p:sp>
        <p:nvSpPr>
          <p:cNvPr id="63" name="TextBox 62">
            <a:extLst>
              <a:ext uri="{FF2B5EF4-FFF2-40B4-BE49-F238E27FC236}">
                <a16:creationId xmlns:a16="http://schemas.microsoft.com/office/drawing/2014/main" id="{89840BA7-B413-4AAB-AE25-78221A5F29DB}"/>
              </a:ext>
            </a:extLst>
          </p:cNvPr>
          <p:cNvSpPr txBox="1"/>
          <p:nvPr/>
        </p:nvSpPr>
        <p:spPr>
          <a:xfrm rot="16200000">
            <a:off x="5595123" y="3813894"/>
            <a:ext cx="2161135" cy="369332"/>
          </a:xfrm>
          <a:prstGeom prst="rect">
            <a:avLst/>
          </a:prstGeom>
          <a:noFill/>
        </p:spPr>
        <p:txBody>
          <a:bodyPr wrap="square" anchor="ctr">
            <a:spAutoFit/>
          </a:bodyPr>
          <a:lstStyle/>
          <a:p>
            <a:pPr algn="ctr">
              <a:spcAft>
                <a:spcPts val="200"/>
              </a:spcAft>
            </a:pPr>
            <a:r>
              <a:rPr lang="en-US" b="1">
                <a:solidFill>
                  <a:schemeClr val="bg1"/>
                </a:solidFill>
                <a:latin typeface="Calibri" panose="020F0502020204030204" pitchFamily="34" charset="0"/>
                <a:cs typeface="Calibri" panose="020F0502020204030204" pitchFamily="34" charset="0"/>
              </a:rPr>
              <a:t>TERRITORIAL SCOPE</a:t>
            </a:r>
          </a:p>
        </p:txBody>
      </p:sp>
      <p:sp>
        <p:nvSpPr>
          <p:cNvPr id="2" name="Text Placeholder 1">
            <a:extLst>
              <a:ext uri="{FF2B5EF4-FFF2-40B4-BE49-F238E27FC236}">
                <a16:creationId xmlns:a16="http://schemas.microsoft.com/office/drawing/2014/main" id="{0D2FA1E2-9251-51DA-FB04-6E77E62F9E99}"/>
              </a:ext>
            </a:extLst>
          </p:cNvPr>
          <p:cNvSpPr>
            <a:spLocks noGrp="1"/>
          </p:cNvSpPr>
          <p:nvPr>
            <p:ph type="body" sz="quarter" idx="14"/>
          </p:nvPr>
        </p:nvSpPr>
        <p:spPr>
          <a:xfrm>
            <a:off x="0" y="48127"/>
            <a:ext cx="12192000" cy="1419727"/>
          </a:xfrm>
        </p:spPr>
        <p:txBody>
          <a:bodyPr>
            <a:normAutofit/>
          </a:bodyPr>
          <a:lstStyle/>
          <a:p>
            <a:r>
              <a:rPr lang="en-US" sz="3600" b="1">
                <a:solidFill>
                  <a:schemeClr val="bg1"/>
                </a:solidFill>
                <a:cs typeface="Calibri" panose="020F0502020204030204" pitchFamily="34" charset="0"/>
              </a:rPr>
              <a:t>WHO NEEDS TO COMPLY WITH THE LAW</a:t>
            </a:r>
            <a:endParaRPr lang="en-US" sz="5400">
              <a:cs typeface="Calibri" panose="020F0502020204030204" pitchFamily="34" charset="0"/>
            </a:endParaRPr>
          </a:p>
        </p:txBody>
      </p:sp>
      <p:pic>
        <p:nvPicPr>
          <p:cNvPr id="8" name="Graphic 7" descr="Document with solid fill">
            <a:extLst>
              <a:ext uri="{FF2B5EF4-FFF2-40B4-BE49-F238E27FC236}">
                <a16:creationId xmlns:a16="http://schemas.microsoft.com/office/drawing/2014/main" id="{99A9766B-A1E7-5F88-E5F6-B236E83F146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76251" y="2094065"/>
            <a:ext cx="447710" cy="447710"/>
          </a:xfrm>
          <a:prstGeom prst="rect">
            <a:avLst/>
          </a:prstGeom>
        </p:spPr>
      </p:pic>
      <p:pic>
        <p:nvPicPr>
          <p:cNvPr id="9" name="Graphic 8" descr="Document with solid fill">
            <a:extLst>
              <a:ext uri="{FF2B5EF4-FFF2-40B4-BE49-F238E27FC236}">
                <a16:creationId xmlns:a16="http://schemas.microsoft.com/office/drawing/2014/main" id="{7C46FBDA-8EF6-067E-0709-E04A4BE0AB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70220" y="3689429"/>
            <a:ext cx="447710" cy="447710"/>
          </a:xfrm>
          <a:prstGeom prst="rect">
            <a:avLst/>
          </a:prstGeom>
        </p:spPr>
      </p:pic>
      <p:pic>
        <p:nvPicPr>
          <p:cNvPr id="10" name="Graphic 9" descr="Document with solid fill">
            <a:extLst>
              <a:ext uri="{FF2B5EF4-FFF2-40B4-BE49-F238E27FC236}">
                <a16:creationId xmlns:a16="http://schemas.microsoft.com/office/drawing/2014/main" id="{B7C0AA1D-0E30-B6F9-657D-BD404CD905A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76251" y="5382663"/>
            <a:ext cx="447710" cy="447710"/>
          </a:xfrm>
          <a:prstGeom prst="rect">
            <a:avLst/>
          </a:prstGeom>
        </p:spPr>
      </p:pic>
      <p:pic>
        <p:nvPicPr>
          <p:cNvPr id="12" name="Graphic 11" descr="Checklist with solid fill">
            <a:extLst>
              <a:ext uri="{FF2B5EF4-FFF2-40B4-BE49-F238E27FC236}">
                <a16:creationId xmlns:a16="http://schemas.microsoft.com/office/drawing/2014/main" id="{53BF7F3D-54BF-8AD1-BD79-0D89D8DE98D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59532" y="2069021"/>
            <a:ext cx="497798" cy="497798"/>
          </a:xfrm>
          <a:prstGeom prst="rect">
            <a:avLst/>
          </a:prstGeom>
        </p:spPr>
      </p:pic>
      <p:pic>
        <p:nvPicPr>
          <p:cNvPr id="13" name="Graphic 12" descr="Checklist with solid fill">
            <a:extLst>
              <a:ext uri="{FF2B5EF4-FFF2-40B4-BE49-F238E27FC236}">
                <a16:creationId xmlns:a16="http://schemas.microsoft.com/office/drawing/2014/main" id="{D3ABEAFF-0DE2-0443-5099-8FB2FF5844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02962" y="3603289"/>
            <a:ext cx="497798" cy="497798"/>
          </a:xfrm>
          <a:prstGeom prst="rect">
            <a:avLst/>
          </a:prstGeom>
        </p:spPr>
      </p:pic>
      <p:pic>
        <p:nvPicPr>
          <p:cNvPr id="14" name="Graphic 13" descr="Checklist with solid fill">
            <a:extLst>
              <a:ext uri="{FF2B5EF4-FFF2-40B4-BE49-F238E27FC236}">
                <a16:creationId xmlns:a16="http://schemas.microsoft.com/office/drawing/2014/main" id="{D7D80480-454E-4298-33F2-FEFA261A606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59532" y="5329575"/>
            <a:ext cx="497798" cy="497798"/>
          </a:xfrm>
          <a:prstGeom prst="rect">
            <a:avLst/>
          </a:prstGeom>
        </p:spPr>
      </p:pic>
    </p:spTree>
    <p:extLst>
      <p:ext uri="{BB962C8B-B14F-4D97-AF65-F5344CB8AC3E}">
        <p14:creationId xmlns:p14="http://schemas.microsoft.com/office/powerpoint/2010/main" val="336914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E09B64-40C0-8438-E479-B3551778837D}"/>
              </a:ext>
            </a:extLst>
          </p:cNvPr>
          <p:cNvSpPr/>
          <p:nvPr/>
        </p:nvSpPr>
        <p:spPr>
          <a:xfrm>
            <a:off x="1" y="314988"/>
            <a:ext cx="5967168" cy="1000066"/>
          </a:xfrm>
          <a:prstGeom prst="rect">
            <a:avLst/>
          </a:prstGeom>
          <a:solidFill>
            <a:schemeClr val="accent1">
              <a:lumMod val="50000"/>
              <a:alpha val="67000"/>
            </a:schemeClr>
          </a:solidFill>
          <a:ln w="12700" cap="flat">
            <a:noFill/>
            <a:miter lim="400000"/>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912812" rtl="0" fontAlgn="auto" latinLnBrk="0" hangingPunct="0">
              <a:lnSpc>
                <a:spcPct val="100000"/>
              </a:lnSpc>
              <a:spcBef>
                <a:spcPts val="0"/>
              </a:spcBef>
              <a:spcAft>
                <a:spcPts val="0"/>
              </a:spcAft>
              <a:buClrTx/>
              <a:buSzTx/>
              <a:buFontTx/>
              <a:buNone/>
              <a:tabLst/>
            </a:pPr>
            <a:endParaRPr kumimoji="0" lang="en-PK" sz="3400" b="0" i="0" u="none" strike="noStrike" cap="none" spc="0" normalizeH="0" baseline="0">
              <a:ln>
                <a:noFill/>
              </a:ln>
              <a:solidFill>
                <a:srgbClr val="FFFFFF"/>
              </a:solidFill>
              <a:effectLst/>
              <a:uFillTx/>
              <a:latin typeface="+mn-lt"/>
              <a:ea typeface="+mn-ea"/>
              <a:cs typeface="+mn-cs"/>
              <a:sym typeface="Helvetica Light"/>
            </a:endParaRPr>
          </a:p>
        </p:txBody>
      </p:sp>
      <p:sp>
        <p:nvSpPr>
          <p:cNvPr id="16" name="Slide Number Placeholder 4">
            <a:extLst>
              <a:ext uri="{FF2B5EF4-FFF2-40B4-BE49-F238E27FC236}">
                <a16:creationId xmlns:a16="http://schemas.microsoft.com/office/drawing/2014/main" id="{AD3EA351-63AC-E441-5CB1-F0823E80C62A}"/>
              </a:ext>
            </a:extLst>
          </p:cNvPr>
          <p:cNvSpPr txBox="1">
            <a:spLocks/>
          </p:cNvSpPr>
          <p:nvPr/>
        </p:nvSpPr>
        <p:spPr>
          <a:xfrm>
            <a:off x="11592932" y="6510561"/>
            <a:ext cx="599068" cy="182562"/>
          </a:xfrm>
          <a:prstGeom prst="rect">
            <a:avLst/>
          </a:prstGeom>
        </p:spPr>
        <p:txBody>
          <a:bodyPr/>
          <a:lstStyle>
            <a:defPPr marL="0" marR="0" indent="0" algn="l" defTabSz="439552" rtl="0" fontAlgn="auto" latinLnBrk="1" hangingPunct="0">
              <a:lnSpc>
                <a:spcPct val="100000"/>
              </a:lnSpc>
              <a:spcBef>
                <a:spcPts val="0"/>
              </a:spcBef>
              <a:spcAft>
                <a:spcPts val="0"/>
              </a:spcAft>
              <a:buClrTx/>
              <a:buSzTx/>
              <a:buFontTx/>
              <a:buNone/>
              <a:tabLst/>
              <a:defRPr kumimoji="0" sz="865" b="0" i="0" u="none" strike="noStrike" cap="none" spc="0" normalizeH="0" baseline="0">
                <a:ln>
                  <a:noFill/>
                </a:ln>
                <a:solidFill>
                  <a:srgbClr val="000000"/>
                </a:solidFill>
                <a:effectLst/>
                <a:uFillTx/>
              </a:defRPr>
            </a:defPPr>
            <a:lvl1pPr marL="0" marR="0" indent="0" algn="ctr" defTabSz="438789" rtl="0" fontAlgn="auto" latinLnBrk="0" hangingPunct="0">
              <a:lnSpc>
                <a:spcPct val="100000"/>
              </a:lnSpc>
              <a:spcBef>
                <a:spcPts val="0"/>
              </a:spcBef>
              <a:spcAft>
                <a:spcPts val="0"/>
              </a:spcAft>
              <a:buClrTx/>
              <a:buSzTx/>
              <a:buFontTx/>
              <a:buNone/>
              <a:tabLst/>
              <a:defRPr kumimoji="0" sz="2596" b="0" i="0" u="none" strike="noStrike" cap="none" spc="0" normalizeH="0" baseline="0">
                <a:ln>
                  <a:noFill/>
                </a:ln>
                <a:solidFill>
                  <a:srgbClr val="000000"/>
                </a:solidFill>
                <a:effectLst/>
                <a:uFillTx/>
                <a:latin typeface="+mn-lt"/>
                <a:ea typeface="+mn-ea"/>
                <a:cs typeface="+mn-cs"/>
                <a:sym typeface="Helvetica Light"/>
              </a:defRPr>
            </a:lvl1pPr>
            <a:lvl2pPr marL="0" marR="0" indent="109888" algn="ctr" defTabSz="438789" rtl="0" fontAlgn="auto" latinLnBrk="0" hangingPunct="0">
              <a:lnSpc>
                <a:spcPct val="100000"/>
              </a:lnSpc>
              <a:spcBef>
                <a:spcPts val="0"/>
              </a:spcBef>
              <a:spcAft>
                <a:spcPts val="0"/>
              </a:spcAft>
              <a:buClrTx/>
              <a:buSzTx/>
              <a:buFontTx/>
              <a:buNone/>
              <a:tabLst/>
              <a:defRPr kumimoji="0" sz="2596" b="0" i="0" u="none" strike="noStrike" cap="none" spc="0" normalizeH="0" baseline="0">
                <a:ln>
                  <a:noFill/>
                </a:ln>
                <a:solidFill>
                  <a:srgbClr val="000000"/>
                </a:solidFill>
                <a:effectLst/>
                <a:uFillTx/>
                <a:latin typeface="+mn-lt"/>
                <a:ea typeface="+mn-ea"/>
                <a:cs typeface="+mn-cs"/>
                <a:sym typeface="Helvetica Light"/>
              </a:defRPr>
            </a:lvl2pPr>
            <a:lvl3pPr marL="0" marR="0" indent="219776" algn="ctr" defTabSz="438789" rtl="0" fontAlgn="auto" latinLnBrk="0" hangingPunct="0">
              <a:lnSpc>
                <a:spcPct val="100000"/>
              </a:lnSpc>
              <a:spcBef>
                <a:spcPts val="0"/>
              </a:spcBef>
              <a:spcAft>
                <a:spcPts val="0"/>
              </a:spcAft>
              <a:buClrTx/>
              <a:buSzTx/>
              <a:buFontTx/>
              <a:buNone/>
              <a:tabLst/>
              <a:defRPr kumimoji="0" sz="2596" b="0" i="0" u="none" strike="noStrike" cap="none" spc="0" normalizeH="0" baseline="0">
                <a:ln>
                  <a:noFill/>
                </a:ln>
                <a:solidFill>
                  <a:srgbClr val="000000"/>
                </a:solidFill>
                <a:effectLst/>
                <a:uFillTx/>
                <a:latin typeface="+mn-lt"/>
                <a:ea typeface="+mn-ea"/>
                <a:cs typeface="+mn-cs"/>
                <a:sym typeface="Helvetica Light"/>
              </a:defRPr>
            </a:lvl3pPr>
            <a:lvl4pPr marL="0" marR="0" indent="329664" algn="ctr" defTabSz="438789" rtl="0" fontAlgn="auto" latinLnBrk="0" hangingPunct="0">
              <a:lnSpc>
                <a:spcPct val="100000"/>
              </a:lnSpc>
              <a:spcBef>
                <a:spcPts val="0"/>
              </a:spcBef>
              <a:spcAft>
                <a:spcPts val="0"/>
              </a:spcAft>
              <a:buClrTx/>
              <a:buSzTx/>
              <a:buFontTx/>
              <a:buNone/>
              <a:tabLst/>
              <a:defRPr kumimoji="0" sz="2596" b="0" i="0" u="none" strike="noStrike" cap="none" spc="0" normalizeH="0" baseline="0">
                <a:ln>
                  <a:noFill/>
                </a:ln>
                <a:solidFill>
                  <a:srgbClr val="000000"/>
                </a:solidFill>
                <a:effectLst/>
                <a:uFillTx/>
                <a:latin typeface="+mn-lt"/>
                <a:ea typeface="+mn-ea"/>
                <a:cs typeface="+mn-cs"/>
                <a:sym typeface="Helvetica Light"/>
              </a:defRPr>
            </a:lvl4pPr>
            <a:lvl5pPr marL="0" marR="0" indent="439552" algn="ctr" defTabSz="438789" rtl="0" fontAlgn="auto" latinLnBrk="0" hangingPunct="0">
              <a:lnSpc>
                <a:spcPct val="100000"/>
              </a:lnSpc>
              <a:spcBef>
                <a:spcPts val="0"/>
              </a:spcBef>
              <a:spcAft>
                <a:spcPts val="0"/>
              </a:spcAft>
              <a:buClrTx/>
              <a:buSzTx/>
              <a:buFontTx/>
              <a:buNone/>
              <a:tabLst/>
              <a:defRPr kumimoji="0" sz="2596" b="0" i="0" u="none" strike="noStrike" cap="none" spc="0" normalizeH="0" baseline="0">
                <a:ln>
                  <a:noFill/>
                </a:ln>
                <a:solidFill>
                  <a:srgbClr val="000000"/>
                </a:solidFill>
                <a:effectLst/>
                <a:uFillTx/>
                <a:latin typeface="+mn-lt"/>
                <a:ea typeface="+mn-ea"/>
                <a:cs typeface="+mn-cs"/>
                <a:sym typeface="Helvetica Light"/>
              </a:defRPr>
            </a:lvl5pPr>
            <a:lvl6pPr marL="0" marR="0" indent="549440" algn="ctr" defTabSz="438789" rtl="0" fontAlgn="auto" latinLnBrk="0" hangingPunct="0">
              <a:lnSpc>
                <a:spcPct val="100000"/>
              </a:lnSpc>
              <a:spcBef>
                <a:spcPts val="0"/>
              </a:spcBef>
              <a:spcAft>
                <a:spcPts val="0"/>
              </a:spcAft>
              <a:buClrTx/>
              <a:buSzTx/>
              <a:buFontTx/>
              <a:buNone/>
              <a:tabLst/>
              <a:defRPr kumimoji="0" sz="2596" b="0" i="0" u="none" strike="noStrike" cap="none" spc="0" normalizeH="0" baseline="0">
                <a:ln>
                  <a:noFill/>
                </a:ln>
                <a:solidFill>
                  <a:srgbClr val="000000"/>
                </a:solidFill>
                <a:effectLst/>
                <a:uFillTx/>
                <a:latin typeface="+mn-lt"/>
                <a:ea typeface="+mn-ea"/>
                <a:cs typeface="+mn-cs"/>
                <a:sym typeface="Helvetica Light"/>
              </a:defRPr>
            </a:lvl6pPr>
            <a:lvl7pPr marL="0" marR="0" indent="659328" algn="ctr" defTabSz="438789" rtl="0" fontAlgn="auto" latinLnBrk="0" hangingPunct="0">
              <a:lnSpc>
                <a:spcPct val="100000"/>
              </a:lnSpc>
              <a:spcBef>
                <a:spcPts val="0"/>
              </a:spcBef>
              <a:spcAft>
                <a:spcPts val="0"/>
              </a:spcAft>
              <a:buClrTx/>
              <a:buSzTx/>
              <a:buFontTx/>
              <a:buNone/>
              <a:tabLst/>
              <a:defRPr kumimoji="0" sz="2596" b="0" i="0" u="none" strike="noStrike" cap="none" spc="0" normalizeH="0" baseline="0">
                <a:ln>
                  <a:noFill/>
                </a:ln>
                <a:solidFill>
                  <a:srgbClr val="000000"/>
                </a:solidFill>
                <a:effectLst/>
                <a:uFillTx/>
                <a:latin typeface="+mn-lt"/>
                <a:ea typeface="+mn-ea"/>
                <a:cs typeface="+mn-cs"/>
                <a:sym typeface="Helvetica Light"/>
              </a:defRPr>
            </a:lvl7pPr>
            <a:lvl8pPr marL="0" marR="0" indent="769216" algn="ctr" defTabSz="438789" rtl="0" fontAlgn="auto" latinLnBrk="0" hangingPunct="0">
              <a:lnSpc>
                <a:spcPct val="100000"/>
              </a:lnSpc>
              <a:spcBef>
                <a:spcPts val="0"/>
              </a:spcBef>
              <a:spcAft>
                <a:spcPts val="0"/>
              </a:spcAft>
              <a:buClrTx/>
              <a:buSzTx/>
              <a:buFontTx/>
              <a:buNone/>
              <a:tabLst/>
              <a:defRPr kumimoji="0" sz="2596" b="0" i="0" u="none" strike="noStrike" cap="none" spc="0" normalizeH="0" baseline="0">
                <a:ln>
                  <a:noFill/>
                </a:ln>
                <a:solidFill>
                  <a:srgbClr val="000000"/>
                </a:solidFill>
                <a:effectLst/>
                <a:uFillTx/>
                <a:latin typeface="+mn-lt"/>
                <a:ea typeface="+mn-ea"/>
                <a:cs typeface="+mn-cs"/>
                <a:sym typeface="Helvetica Light"/>
              </a:defRPr>
            </a:lvl8pPr>
            <a:lvl9pPr marL="0" marR="0" indent="879104" algn="ctr" defTabSz="438789" rtl="0" fontAlgn="auto" latinLnBrk="0" hangingPunct="0">
              <a:lnSpc>
                <a:spcPct val="100000"/>
              </a:lnSpc>
              <a:spcBef>
                <a:spcPts val="0"/>
              </a:spcBef>
              <a:spcAft>
                <a:spcPts val="0"/>
              </a:spcAft>
              <a:buClrTx/>
              <a:buSzTx/>
              <a:buFontTx/>
              <a:buNone/>
              <a:tabLst/>
              <a:defRPr kumimoji="0" sz="2596" b="0" i="0" u="none" strike="noStrike" cap="none" spc="0" normalizeH="0" baseline="0">
                <a:ln>
                  <a:noFill/>
                </a:ln>
                <a:solidFill>
                  <a:srgbClr val="000000"/>
                </a:solidFill>
                <a:effectLst/>
                <a:uFillTx/>
                <a:latin typeface="+mn-lt"/>
                <a:ea typeface="+mn-ea"/>
                <a:cs typeface="+mn-cs"/>
                <a:sym typeface="Helvetica Light"/>
              </a:defRPr>
            </a:lvl9pPr>
          </a:lstStyle>
          <a:p>
            <a:fld id="{EDD46FF0-C00A-4040-A62C-8AE06E098CF0}" type="slidenum">
              <a:rPr lang="en-US" sz="1400" b="1" smtClean="0">
                <a:solidFill>
                  <a:schemeClr val="bg1"/>
                </a:solidFill>
                <a:latin typeface="Calibri" panose="020F0502020204030204" pitchFamily="34" charset="0"/>
                <a:cs typeface="Calibri" panose="020F0502020204030204" pitchFamily="34" charset="0"/>
              </a:rPr>
              <a:pPr/>
              <a:t>27</a:t>
            </a:fld>
            <a:endParaRPr lang="en-US" sz="1400" b="1">
              <a:solidFill>
                <a:schemeClr val="bg1"/>
              </a:solidFill>
              <a:latin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23949331-353A-3154-364F-5ED9C13BA192}"/>
              </a:ext>
            </a:extLst>
          </p:cNvPr>
          <p:cNvGrpSpPr/>
          <p:nvPr/>
        </p:nvGrpSpPr>
        <p:grpSpPr>
          <a:xfrm>
            <a:off x="838381" y="1939791"/>
            <a:ext cx="10529750" cy="4051140"/>
            <a:chOff x="831125" y="1786000"/>
            <a:chExt cx="10529750" cy="4051140"/>
          </a:xfrm>
        </p:grpSpPr>
        <p:grpSp>
          <p:nvGrpSpPr>
            <p:cNvPr id="91" name="Group 90">
              <a:extLst>
                <a:ext uri="{FF2B5EF4-FFF2-40B4-BE49-F238E27FC236}">
                  <a16:creationId xmlns:a16="http://schemas.microsoft.com/office/drawing/2014/main" id="{E4B8DD30-7C3F-4CFE-9B0E-09FF5CEB0CEC}"/>
                </a:ext>
              </a:extLst>
            </p:cNvPr>
            <p:cNvGrpSpPr/>
            <p:nvPr/>
          </p:nvGrpSpPr>
          <p:grpSpPr>
            <a:xfrm>
              <a:off x="3645172" y="2303485"/>
              <a:ext cx="1650444" cy="391394"/>
              <a:chOff x="2939769" y="1293381"/>
              <a:chExt cx="1423129" cy="666422"/>
            </a:xfrm>
          </p:grpSpPr>
          <p:cxnSp>
            <p:nvCxnSpPr>
              <p:cNvPr id="92" name="Straight Connector 91">
                <a:extLst>
                  <a:ext uri="{FF2B5EF4-FFF2-40B4-BE49-F238E27FC236}">
                    <a16:creationId xmlns:a16="http://schemas.microsoft.com/office/drawing/2014/main" id="{000D0C39-FB1C-434A-886A-5A2C7B6B0979}"/>
                  </a:ext>
                </a:extLst>
              </p:cNvPr>
              <p:cNvCxnSpPr>
                <a:cxnSpLocks/>
              </p:cNvCxnSpPr>
              <p:nvPr/>
            </p:nvCxnSpPr>
            <p:spPr>
              <a:xfrm flipV="1">
                <a:off x="2939769" y="1293381"/>
                <a:ext cx="467308" cy="666422"/>
              </a:xfrm>
              <a:prstGeom prst="line">
                <a:avLst/>
              </a:prstGeom>
              <a:ln w="19050"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EAC9702-E1E5-4D01-B8E9-495A355BD0CA}"/>
                  </a:ext>
                </a:extLst>
              </p:cNvPr>
              <p:cNvCxnSpPr>
                <a:cxnSpLocks/>
              </p:cNvCxnSpPr>
              <p:nvPr/>
            </p:nvCxnSpPr>
            <p:spPr>
              <a:xfrm>
                <a:off x="3410857" y="1293381"/>
                <a:ext cx="952041" cy="0"/>
              </a:xfrm>
              <a:prstGeom prst="line">
                <a:avLst/>
              </a:prstGeom>
              <a:ln w="19050" cap="rnd">
                <a:solidFill>
                  <a:schemeClr val="bg2">
                    <a:lumMod val="7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EAC28A24-3EE9-4E0E-99A9-6C12EFFA9DEC}"/>
                </a:ext>
              </a:extLst>
            </p:cNvPr>
            <p:cNvGrpSpPr/>
            <p:nvPr/>
          </p:nvGrpSpPr>
          <p:grpSpPr>
            <a:xfrm flipV="1">
              <a:off x="3773553" y="4516139"/>
              <a:ext cx="1522064" cy="704423"/>
              <a:chOff x="2939768" y="1264483"/>
              <a:chExt cx="1271567" cy="674029"/>
            </a:xfrm>
          </p:grpSpPr>
          <p:cxnSp>
            <p:nvCxnSpPr>
              <p:cNvPr id="100" name="Straight Connector 99">
                <a:extLst>
                  <a:ext uri="{FF2B5EF4-FFF2-40B4-BE49-F238E27FC236}">
                    <a16:creationId xmlns:a16="http://schemas.microsoft.com/office/drawing/2014/main" id="{B7455DB8-2E59-4456-BFF9-93D689020F1F}"/>
                  </a:ext>
                </a:extLst>
              </p:cNvPr>
              <p:cNvCxnSpPr>
                <a:cxnSpLocks/>
              </p:cNvCxnSpPr>
              <p:nvPr/>
            </p:nvCxnSpPr>
            <p:spPr>
              <a:xfrm flipV="1">
                <a:off x="2939768" y="1272090"/>
                <a:ext cx="467308" cy="666422"/>
              </a:xfrm>
              <a:prstGeom prst="line">
                <a:avLst/>
              </a:prstGeom>
              <a:ln w="19050"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0770C9B-BE7C-439C-803D-401F245419E2}"/>
                  </a:ext>
                </a:extLst>
              </p:cNvPr>
              <p:cNvCxnSpPr>
                <a:cxnSpLocks/>
              </p:cNvCxnSpPr>
              <p:nvPr/>
            </p:nvCxnSpPr>
            <p:spPr>
              <a:xfrm flipV="1">
                <a:off x="3410857" y="1264483"/>
                <a:ext cx="800478" cy="0"/>
              </a:xfrm>
              <a:prstGeom prst="line">
                <a:avLst/>
              </a:prstGeom>
              <a:ln w="19050" cap="rnd">
                <a:solidFill>
                  <a:schemeClr val="bg2">
                    <a:lumMod val="7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BA2F7260-CD55-4CDA-B2F7-1179F29CC020}"/>
                </a:ext>
              </a:extLst>
            </p:cNvPr>
            <p:cNvGrpSpPr/>
            <p:nvPr/>
          </p:nvGrpSpPr>
          <p:grpSpPr>
            <a:xfrm rot="284943">
              <a:off x="1646893" y="1786000"/>
              <a:ext cx="2700637" cy="4051140"/>
              <a:chOff x="3916457" y="2494044"/>
              <a:chExt cx="1648001" cy="2488519"/>
            </a:xfrm>
            <a:solidFill>
              <a:schemeClr val="accent1">
                <a:lumMod val="75000"/>
                <a:alpha val="98000"/>
              </a:schemeClr>
            </a:solidFill>
          </p:grpSpPr>
          <p:sp>
            <p:nvSpPr>
              <p:cNvPr id="17" name="Freeform 61">
                <a:extLst>
                  <a:ext uri="{FF2B5EF4-FFF2-40B4-BE49-F238E27FC236}">
                    <a16:creationId xmlns:a16="http://schemas.microsoft.com/office/drawing/2014/main" id="{AEE7F664-7FFF-4C83-82CB-C5C98826CA3A}"/>
                  </a:ext>
                </a:extLst>
              </p:cNvPr>
              <p:cNvSpPr>
                <a:spLocks/>
              </p:cNvSpPr>
              <p:nvPr/>
            </p:nvSpPr>
            <p:spPr bwMode="auto">
              <a:xfrm rot="5097766">
                <a:off x="4840557" y="3391974"/>
                <a:ext cx="887413" cy="560388"/>
              </a:xfrm>
              <a:custGeom>
                <a:avLst/>
                <a:gdLst>
                  <a:gd name="T0" fmla="*/ 185 w 231"/>
                  <a:gd name="T1" fmla="*/ 147 h 147"/>
                  <a:gd name="T2" fmla="*/ 231 w 231"/>
                  <a:gd name="T3" fmla="*/ 20 h 147"/>
                  <a:gd name="T4" fmla="*/ 115 w 231"/>
                  <a:gd name="T5" fmla="*/ 0 h 147"/>
                  <a:gd name="T6" fmla="*/ 0 w 231"/>
                  <a:gd name="T7" fmla="*/ 20 h 147"/>
                  <a:gd name="T8" fmla="*/ 46 w 231"/>
                  <a:gd name="T9" fmla="*/ 147 h 147"/>
                  <a:gd name="T10" fmla="*/ 185 w 231"/>
                  <a:gd name="T11" fmla="*/ 147 h 147"/>
                </a:gdLst>
                <a:ahLst/>
                <a:cxnLst>
                  <a:cxn ang="0">
                    <a:pos x="T0" y="T1"/>
                  </a:cxn>
                  <a:cxn ang="0">
                    <a:pos x="T2" y="T3"/>
                  </a:cxn>
                  <a:cxn ang="0">
                    <a:pos x="T4" y="T5"/>
                  </a:cxn>
                  <a:cxn ang="0">
                    <a:pos x="T6" y="T7"/>
                  </a:cxn>
                  <a:cxn ang="0">
                    <a:pos x="T8" y="T9"/>
                  </a:cxn>
                  <a:cxn ang="0">
                    <a:pos x="T10" y="T11"/>
                  </a:cxn>
                </a:cxnLst>
                <a:rect l="0" t="0" r="r" b="b"/>
                <a:pathLst>
                  <a:path w="231" h="147">
                    <a:moveTo>
                      <a:pt x="185" y="147"/>
                    </a:moveTo>
                    <a:cubicBezTo>
                      <a:pt x="231" y="20"/>
                      <a:pt x="231" y="20"/>
                      <a:pt x="231" y="20"/>
                    </a:cubicBezTo>
                    <a:cubicBezTo>
                      <a:pt x="195" y="7"/>
                      <a:pt x="156" y="0"/>
                      <a:pt x="115" y="0"/>
                    </a:cubicBezTo>
                    <a:cubicBezTo>
                      <a:pt x="75" y="0"/>
                      <a:pt x="36" y="7"/>
                      <a:pt x="0" y="20"/>
                    </a:cubicBezTo>
                    <a:cubicBezTo>
                      <a:pt x="46" y="147"/>
                      <a:pt x="46" y="147"/>
                      <a:pt x="46" y="147"/>
                    </a:cubicBezTo>
                    <a:cubicBezTo>
                      <a:pt x="91" y="130"/>
                      <a:pt x="140" y="130"/>
                      <a:pt x="185" y="147"/>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61">
                <a:extLst>
                  <a:ext uri="{FF2B5EF4-FFF2-40B4-BE49-F238E27FC236}">
                    <a16:creationId xmlns:a16="http://schemas.microsoft.com/office/drawing/2014/main" id="{C7354708-AD9D-445D-9B63-EDE811871595}"/>
                  </a:ext>
                </a:extLst>
              </p:cNvPr>
              <p:cNvSpPr>
                <a:spLocks/>
              </p:cNvSpPr>
              <p:nvPr/>
            </p:nvSpPr>
            <p:spPr bwMode="auto">
              <a:xfrm rot="2631817">
                <a:off x="4545163" y="2773556"/>
                <a:ext cx="887413" cy="560388"/>
              </a:xfrm>
              <a:custGeom>
                <a:avLst/>
                <a:gdLst>
                  <a:gd name="T0" fmla="*/ 185 w 231"/>
                  <a:gd name="T1" fmla="*/ 147 h 147"/>
                  <a:gd name="T2" fmla="*/ 231 w 231"/>
                  <a:gd name="T3" fmla="*/ 20 h 147"/>
                  <a:gd name="T4" fmla="*/ 115 w 231"/>
                  <a:gd name="T5" fmla="*/ 0 h 147"/>
                  <a:gd name="T6" fmla="*/ 0 w 231"/>
                  <a:gd name="T7" fmla="*/ 20 h 147"/>
                  <a:gd name="T8" fmla="*/ 46 w 231"/>
                  <a:gd name="T9" fmla="*/ 147 h 147"/>
                  <a:gd name="T10" fmla="*/ 185 w 231"/>
                  <a:gd name="T11" fmla="*/ 147 h 147"/>
                </a:gdLst>
                <a:ahLst/>
                <a:cxnLst>
                  <a:cxn ang="0">
                    <a:pos x="T0" y="T1"/>
                  </a:cxn>
                  <a:cxn ang="0">
                    <a:pos x="T2" y="T3"/>
                  </a:cxn>
                  <a:cxn ang="0">
                    <a:pos x="T4" y="T5"/>
                  </a:cxn>
                  <a:cxn ang="0">
                    <a:pos x="T6" y="T7"/>
                  </a:cxn>
                  <a:cxn ang="0">
                    <a:pos x="T8" y="T9"/>
                  </a:cxn>
                  <a:cxn ang="0">
                    <a:pos x="T10" y="T11"/>
                  </a:cxn>
                </a:cxnLst>
                <a:rect l="0" t="0" r="r" b="b"/>
                <a:pathLst>
                  <a:path w="231" h="147">
                    <a:moveTo>
                      <a:pt x="185" y="147"/>
                    </a:moveTo>
                    <a:cubicBezTo>
                      <a:pt x="231" y="20"/>
                      <a:pt x="231" y="20"/>
                      <a:pt x="231" y="20"/>
                    </a:cubicBezTo>
                    <a:cubicBezTo>
                      <a:pt x="195" y="7"/>
                      <a:pt x="156" y="0"/>
                      <a:pt x="115" y="0"/>
                    </a:cubicBezTo>
                    <a:cubicBezTo>
                      <a:pt x="75" y="0"/>
                      <a:pt x="36" y="7"/>
                      <a:pt x="0" y="20"/>
                    </a:cubicBezTo>
                    <a:cubicBezTo>
                      <a:pt x="46" y="147"/>
                      <a:pt x="46" y="147"/>
                      <a:pt x="46" y="147"/>
                    </a:cubicBezTo>
                    <a:cubicBezTo>
                      <a:pt x="91" y="130"/>
                      <a:pt x="140" y="130"/>
                      <a:pt x="185" y="147"/>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61">
                <a:extLst>
                  <a:ext uri="{FF2B5EF4-FFF2-40B4-BE49-F238E27FC236}">
                    <a16:creationId xmlns:a16="http://schemas.microsoft.com/office/drawing/2014/main" id="{D8D598FA-71F8-4296-AF68-DA608DFD4A99}"/>
                  </a:ext>
                </a:extLst>
              </p:cNvPr>
              <p:cNvSpPr>
                <a:spLocks/>
              </p:cNvSpPr>
              <p:nvPr/>
            </p:nvSpPr>
            <p:spPr bwMode="auto">
              <a:xfrm rot="7634466">
                <a:off x="4654348" y="4049875"/>
                <a:ext cx="887413" cy="560388"/>
              </a:xfrm>
              <a:custGeom>
                <a:avLst/>
                <a:gdLst>
                  <a:gd name="T0" fmla="*/ 185 w 231"/>
                  <a:gd name="T1" fmla="*/ 147 h 147"/>
                  <a:gd name="T2" fmla="*/ 231 w 231"/>
                  <a:gd name="T3" fmla="*/ 20 h 147"/>
                  <a:gd name="T4" fmla="*/ 115 w 231"/>
                  <a:gd name="T5" fmla="*/ 0 h 147"/>
                  <a:gd name="T6" fmla="*/ 0 w 231"/>
                  <a:gd name="T7" fmla="*/ 20 h 147"/>
                  <a:gd name="T8" fmla="*/ 46 w 231"/>
                  <a:gd name="T9" fmla="*/ 147 h 147"/>
                  <a:gd name="T10" fmla="*/ 185 w 231"/>
                  <a:gd name="T11" fmla="*/ 147 h 147"/>
                </a:gdLst>
                <a:ahLst/>
                <a:cxnLst>
                  <a:cxn ang="0">
                    <a:pos x="T0" y="T1"/>
                  </a:cxn>
                  <a:cxn ang="0">
                    <a:pos x="T2" y="T3"/>
                  </a:cxn>
                  <a:cxn ang="0">
                    <a:pos x="T4" y="T5"/>
                  </a:cxn>
                  <a:cxn ang="0">
                    <a:pos x="T6" y="T7"/>
                  </a:cxn>
                  <a:cxn ang="0">
                    <a:pos x="T8" y="T9"/>
                  </a:cxn>
                  <a:cxn ang="0">
                    <a:pos x="T10" y="T11"/>
                  </a:cxn>
                </a:cxnLst>
                <a:rect l="0" t="0" r="r" b="b"/>
                <a:pathLst>
                  <a:path w="231" h="147">
                    <a:moveTo>
                      <a:pt x="185" y="147"/>
                    </a:moveTo>
                    <a:cubicBezTo>
                      <a:pt x="231" y="20"/>
                      <a:pt x="231" y="20"/>
                      <a:pt x="231" y="20"/>
                    </a:cubicBezTo>
                    <a:cubicBezTo>
                      <a:pt x="195" y="7"/>
                      <a:pt x="156" y="0"/>
                      <a:pt x="115" y="0"/>
                    </a:cubicBezTo>
                    <a:cubicBezTo>
                      <a:pt x="75" y="0"/>
                      <a:pt x="36" y="7"/>
                      <a:pt x="0" y="20"/>
                    </a:cubicBezTo>
                    <a:cubicBezTo>
                      <a:pt x="46" y="147"/>
                      <a:pt x="46" y="147"/>
                      <a:pt x="46" y="147"/>
                    </a:cubicBezTo>
                    <a:cubicBezTo>
                      <a:pt x="91" y="130"/>
                      <a:pt x="140" y="130"/>
                      <a:pt x="185" y="147"/>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61">
                <a:extLst>
                  <a:ext uri="{FF2B5EF4-FFF2-40B4-BE49-F238E27FC236}">
                    <a16:creationId xmlns:a16="http://schemas.microsoft.com/office/drawing/2014/main" id="{8E18E4A1-45C7-4211-993A-BDBD29EAA811}"/>
                  </a:ext>
                </a:extLst>
              </p:cNvPr>
              <p:cNvSpPr>
                <a:spLocks/>
              </p:cNvSpPr>
              <p:nvPr/>
            </p:nvSpPr>
            <p:spPr bwMode="auto">
              <a:xfrm rot="10030670">
                <a:off x="4071929" y="4422175"/>
                <a:ext cx="887413" cy="560388"/>
              </a:xfrm>
              <a:custGeom>
                <a:avLst/>
                <a:gdLst>
                  <a:gd name="T0" fmla="*/ 185 w 231"/>
                  <a:gd name="T1" fmla="*/ 147 h 147"/>
                  <a:gd name="T2" fmla="*/ 231 w 231"/>
                  <a:gd name="T3" fmla="*/ 20 h 147"/>
                  <a:gd name="T4" fmla="*/ 115 w 231"/>
                  <a:gd name="T5" fmla="*/ 0 h 147"/>
                  <a:gd name="T6" fmla="*/ 0 w 231"/>
                  <a:gd name="T7" fmla="*/ 20 h 147"/>
                  <a:gd name="T8" fmla="*/ 46 w 231"/>
                  <a:gd name="T9" fmla="*/ 147 h 147"/>
                  <a:gd name="T10" fmla="*/ 185 w 231"/>
                  <a:gd name="T11" fmla="*/ 147 h 147"/>
                </a:gdLst>
                <a:ahLst/>
                <a:cxnLst>
                  <a:cxn ang="0">
                    <a:pos x="T0" y="T1"/>
                  </a:cxn>
                  <a:cxn ang="0">
                    <a:pos x="T2" y="T3"/>
                  </a:cxn>
                  <a:cxn ang="0">
                    <a:pos x="T4" y="T5"/>
                  </a:cxn>
                  <a:cxn ang="0">
                    <a:pos x="T6" y="T7"/>
                  </a:cxn>
                  <a:cxn ang="0">
                    <a:pos x="T8" y="T9"/>
                  </a:cxn>
                  <a:cxn ang="0">
                    <a:pos x="T10" y="T11"/>
                  </a:cxn>
                </a:cxnLst>
                <a:rect l="0" t="0" r="r" b="b"/>
                <a:pathLst>
                  <a:path w="231" h="147">
                    <a:moveTo>
                      <a:pt x="185" y="147"/>
                    </a:moveTo>
                    <a:cubicBezTo>
                      <a:pt x="231" y="20"/>
                      <a:pt x="231" y="20"/>
                      <a:pt x="231" y="20"/>
                    </a:cubicBezTo>
                    <a:cubicBezTo>
                      <a:pt x="195" y="7"/>
                      <a:pt x="156" y="0"/>
                      <a:pt x="115" y="0"/>
                    </a:cubicBezTo>
                    <a:cubicBezTo>
                      <a:pt x="75" y="0"/>
                      <a:pt x="36" y="7"/>
                      <a:pt x="0" y="20"/>
                    </a:cubicBezTo>
                    <a:cubicBezTo>
                      <a:pt x="46" y="147"/>
                      <a:pt x="46" y="147"/>
                      <a:pt x="46" y="147"/>
                    </a:cubicBezTo>
                    <a:cubicBezTo>
                      <a:pt x="91" y="130"/>
                      <a:pt x="140" y="130"/>
                      <a:pt x="185" y="147"/>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61">
                <a:extLst>
                  <a:ext uri="{FF2B5EF4-FFF2-40B4-BE49-F238E27FC236}">
                    <a16:creationId xmlns:a16="http://schemas.microsoft.com/office/drawing/2014/main" id="{8A714258-15CB-4720-AEF9-2854B5A61588}"/>
                  </a:ext>
                </a:extLst>
              </p:cNvPr>
              <p:cNvSpPr>
                <a:spLocks/>
              </p:cNvSpPr>
              <p:nvPr/>
            </p:nvSpPr>
            <p:spPr bwMode="auto">
              <a:xfrm rot="214788">
                <a:off x="3916457" y="2494044"/>
                <a:ext cx="887413" cy="560388"/>
              </a:xfrm>
              <a:custGeom>
                <a:avLst/>
                <a:gdLst>
                  <a:gd name="T0" fmla="*/ 185 w 231"/>
                  <a:gd name="T1" fmla="*/ 147 h 147"/>
                  <a:gd name="T2" fmla="*/ 231 w 231"/>
                  <a:gd name="T3" fmla="*/ 20 h 147"/>
                  <a:gd name="T4" fmla="*/ 115 w 231"/>
                  <a:gd name="T5" fmla="*/ 0 h 147"/>
                  <a:gd name="T6" fmla="*/ 0 w 231"/>
                  <a:gd name="T7" fmla="*/ 20 h 147"/>
                  <a:gd name="T8" fmla="*/ 46 w 231"/>
                  <a:gd name="T9" fmla="*/ 147 h 147"/>
                  <a:gd name="T10" fmla="*/ 185 w 231"/>
                  <a:gd name="T11" fmla="*/ 147 h 147"/>
                </a:gdLst>
                <a:ahLst/>
                <a:cxnLst>
                  <a:cxn ang="0">
                    <a:pos x="T0" y="T1"/>
                  </a:cxn>
                  <a:cxn ang="0">
                    <a:pos x="T2" y="T3"/>
                  </a:cxn>
                  <a:cxn ang="0">
                    <a:pos x="T4" y="T5"/>
                  </a:cxn>
                  <a:cxn ang="0">
                    <a:pos x="T6" y="T7"/>
                  </a:cxn>
                  <a:cxn ang="0">
                    <a:pos x="T8" y="T9"/>
                  </a:cxn>
                  <a:cxn ang="0">
                    <a:pos x="T10" y="T11"/>
                  </a:cxn>
                </a:cxnLst>
                <a:rect l="0" t="0" r="r" b="b"/>
                <a:pathLst>
                  <a:path w="231" h="147">
                    <a:moveTo>
                      <a:pt x="185" y="147"/>
                    </a:moveTo>
                    <a:cubicBezTo>
                      <a:pt x="231" y="20"/>
                      <a:pt x="231" y="20"/>
                      <a:pt x="231" y="20"/>
                    </a:cubicBezTo>
                    <a:cubicBezTo>
                      <a:pt x="195" y="7"/>
                      <a:pt x="156" y="0"/>
                      <a:pt x="115" y="0"/>
                    </a:cubicBezTo>
                    <a:cubicBezTo>
                      <a:pt x="75" y="0"/>
                      <a:pt x="36" y="7"/>
                      <a:pt x="0" y="20"/>
                    </a:cubicBezTo>
                    <a:cubicBezTo>
                      <a:pt x="46" y="147"/>
                      <a:pt x="46" y="147"/>
                      <a:pt x="46" y="147"/>
                    </a:cubicBezTo>
                    <a:cubicBezTo>
                      <a:pt x="91" y="130"/>
                      <a:pt x="140" y="130"/>
                      <a:pt x="185" y="147"/>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Oval 63">
              <a:extLst>
                <a:ext uri="{FF2B5EF4-FFF2-40B4-BE49-F238E27FC236}">
                  <a16:creationId xmlns:a16="http://schemas.microsoft.com/office/drawing/2014/main" id="{55CB0B34-5938-436F-8F4E-EEA9536D43DE}"/>
                </a:ext>
              </a:extLst>
            </p:cNvPr>
            <p:cNvSpPr>
              <a:spLocks noChangeArrowheads="1"/>
            </p:cNvSpPr>
            <p:nvPr/>
          </p:nvSpPr>
          <p:spPr bwMode="auto">
            <a:xfrm>
              <a:off x="879677" y="2336300"/>
              <a:ext cx="2859814" cy="2835786"/>
            </a:xfrm>
            <a:prstGeom prst="ellipse">
              <a:avLst/>
            </a:prstGeom>
            <a:solidFill>
              <a:schemeClr val="bg2"/>
            </a:solidFill>
            <a:ln w="9525">
              <a:noFill/>
              <a:round/>
              <a:headEnd/>
              <a:tailEnd/>
            </a:ln>
            <a:effectLst>
              <a:outerShdw blurRad="1041400" dist="25400" dir="6600000" sx="89000" sy="89000" algn="ctr" rotWithShape="0">
                <a:schemeClr val="tx1">
                  <a:alpha val="25000"/>
                </a:schemeClr>
              </a:outerShdw>
            </a:effectLst>
          </p:spPr>
          <p:txBody>
            <a:bodyPr vert="horz" wrap="square" lIns="121920" tIns="60960" rIns="121920" bIns="60960" numCol="1" anchor="t" anchorCtr="0" compatLnSpc="1">
              <a:prstTxWarp prst="textNoShape">
                <a:avLst/>
              </a:prstTxWarp>
            </a:bodyPr>
            <a:lstStyle/>
            <a:p>
              <a:endParaRPr lang="en-US" sz="2400"/>
            </a:p>
          </p:txBody>
        </p:sp>
        <p:pic>
          <p:nvPicPr>
            <p:cNvPr id="8" name="Picture 7">
              <a:extLst>
                <a:ext uri="{FF2B5EF4-FFF2-40B4-BE49-F238E27FC236}">
                  <a16:creationId xmlns:a16="http://schemas.microsoft.com/office/drawing/2014/main" id="{C97F0555-8BEF-E53E-CA03-5FF84135BD56}"/>
                </a:ext>
              </a:extLst>
            </p:cNvPr>
            <p:cNvPicPr>
              <a:picLocks noChangeAspect="1"/>
            </p:cNvPicPr>
            <p:nvPr/>
          </p:nvPicPr>
          <p:blipFill>
            <a:blip r:embed="rId3"/>
            <a:stretch>
              <a:fillRect/>
            </a:stretch>
          </p:blipFill>
          <p:spPr>
            <a:xfrm>
              <a:off x="831125" y="2419882"/>
              <a:ext cx="2555593" cy="2555593"/>
            </a:xfrm>
            <a:prstGeom prst="rect">
              <a:avLst/>
            </a:prstGeom>
          </p:spPr>
        </p:pic>
        <p:grpSp>
          <p:nvGrpSpPr>
            <p:cNvPr id="13" name="Group 12">
              <a:extLst>
                <a:ext uri="{FF2B5EF4-FFF2-40B4-BE49-F238E27FC236}">
                  <a16:creationId xmlns:a16="http://schemas.microsoft.com/office/drawing/2014/main" id="{D44C2774-59EB-4612-B140-FEBC735914FB}"/>
                </a:ext>
              </a:extLst>
            </p:cNvPr>
            <p:cNvGrpSpPr/>
            <p:nvPr/>
          </p:nvGrpSpPr>
          <p:grpSpPr>
            <a:xfrm>
              <a:off x="5474859" y="1948730"/>
              <a:ext cx="5886016" cy="3749737"/>
              <a:chOff x="5993573" y="1876351"/>
              <a:chExt cx="4917314" cy="3153410"/>
            </a:xfrm>
          </p:grpSpPr>
          <p:sp>
            <p:nvSpPr>
              <p:cNvPr id="109" name="Rectangle: Rounded Corners 108">
                <a:extLst>
                  <a:ext uri="{FF2B5EF4-FFF2-40B4-BE49-F238E27FC236}">
                    <a16:creationId xmlns:a16="http://schemas.microsoft.com/office/drawing/2014/main" id="{3E8EFB44-B0C9-483D-BB55-12C551DB782E}"/>
                  </a:ext>
                </a:extLst>
              </p:cNvPr>
              <p:cNvSpPr/>
              <p:nvPr/>
            </p:nvSpPr>
            <p:spPr>
              <a:xfrm>
                <a:off x="5993574" y="3610111"/>
                <a:ext cx="4917312" cy="1419650"/>
              </a:xfrm>
              <a:prstGeom prst="roundRect">
                <a:avLst>
                  <a:gd name="adj" fmla="val 50000"/>
                </a:avLst>
              </a:prstGeom>
              <a:solidFill>
                <a:schemeClr val="bg2">
                  <a:lumMod val="95000"/>
                </a:schemeClr>
              </a:solidFill>
              <a:ln w="9525">
                <a:noFill/>
                <a:round/>
                <a:headEnd/>
                <a:tailEnd/>
              </a:ln>
              <a:effectLst/>
            </p:spPr>
            <p:txBody>
              <a:bodyPr vert="horz" wrap="square" lIns="121920" tIns="60960" rIns="121920" bIns="60960" numCol="1" anchor="t" anchorCtr="0" compatLnSpc="1">
                <a:prstTxWarp prst="textNoShape">
                  <a:avLst/>
                </a:prstTxWarp>
              </a:bodyPr>
              <a:lstStyle/>
              <a:p>
                <a:endParaRPr lang="id-ID" sz="1600">
                  <a:solidFill>
                    <a:schemeClr val="tx1"/>
                  </a:solidFill>
                </a:endParaRPr>
              </a:p>
            </p:txBody>
          </p:sp>
          <p:sp>
            <p:nvSpPr>
              <p:cNvPr id="65" name="Rectangle: Rounded Corners 64">
                <a:extLst>
                  <a:ext uri="{FF2B5EF4-FFF2-40B4-BE49-F238E27FC236}">
                    <a16:creationId xmlns:a16="http://schemas.microsoft.com/office/drawing/2014/main" id="{67D7EE09-BC30-45C7-816D-538A07771DA7}"/>
                  </a:ext>
                </a:extLst>
              </p:cNvPr>
              <p:cNvSpPr/>
              <p:nvPr/>
            </p:nvSpPr>
            <p:spPr>
              <a:xfrm>
                <a:off x="5993573" y="1876351"/>
                <a:ext cx="4917314" cy="1576466"/>
              </a:xfrm>
              <a:prstGeom prst="roundRect">
                <a:avLst>
                  <a:gd name="adj" fmla="val 50000"/>
                </a:avLst>
              </a:prstGeom>
              <a:solidFill>
                <a:schemeClr val="bg2">
                  <a:lumMod val="95000"/>
                </a:schemeClr>
              </a:solidFill>
              <a:ln w="9525">
                <a:noFill/>
                <a:round/>
                <a:headEnd/>
                <a:tailEnd/>
              </a:ln>
              <a:effectLst/>
            </p:spPr>
            <p:txBody>
              <a:bodyPr vert="horz" wrap="square" lIns="121920" tIns="60960" rIns="121920" bIns="60960" numCol="1" anchor="t" anchorCtr="0" compatLnSpc="1">
                <a:prstTxWarp prst="textNoShape">
                  <a:avLst/>
                </a:prstTxWarp>
              </a:bodyPr>
              <a:lstStyle/>
              <a:p>
                <a:endParaRPr lang="id-ID" sz="1600">
                  <a:solidFill>
                    <a:schemeClr val="tx1"/>
                  </a:solidFill>
                </a:endParaRPr>
              </a:p>
            </p:txBody>
          </p:sp>
          <p:sp>
            <p:nvSpPr>
              <p:cNvPr id="155" name="TextBox 154">
                <a:extLst>
                  <a:ext uri="{FF2B5EF4-FFF2-40B4-BE49-F238E27FC236}">
                    <a16:creationId xmlns:a16="http://schemas.microsoft.com/office/drawing/2014/main" id="{2DCD2C1E-AFCE-436F-B795-281705A73019}"/>
                  </a:ext>
                </a:extLst>
              </p:cNvPr>
              <p:cNvSpPr txBox="1"/>
              <p:nvPr/>
            </p:nvSpPr>
            <p:spPr>
              <a:xfrm>
                <a:off x="6248399" y="2133600"/>
                <a:ext cx="357727" cy="284713"/>
              </a:xfrm>
              <a:prstGeom prst="rect">
                <a:avLst/>
              </a:prstGeom>
              <a:noFill/>
            </p:spPr>
            <p:txBody>
              <a:bodyPr wrap="square" rtlCol="0">
                <a:spAutoFit/>
              </a:bodyPr>
              <a:lstStyle/>
              <a:p>
                <a:endParaRPr lang="id-ID" sz="1600" b="1">
                  <a:solidFill>
                    <a:schemeClr val="accent3">
                      <a:lumMod val="75000"/>
                    </a:schemeClr>
                  </a:solidFill>
                  <a:latin typeface="+mj-lt"/>
                </a:endParaRPr>
              </a:p>
            </p:txBody>
          </p:sp>
          <p:sp>
            <p:nvSpPr>
              <p:cNvPr id="98" name="TextBox 97">
                <a:extLst>
                  <a:ext uri="{FF2B5EF4-FFF2-40B4-BE49-F238E27FC236}">
                    <a16:creationId xmlns:a16="http://schemas.microsoft.com/office/drawing/2014/main" id="{DFBC1AF1-B018-4D45-8782-0B2367AAA149}"/>
                  </a:ext>
                </a:extLst>
              </p:cNvPr>
              <p:cNvSpPr txBox="1"/>
              <p:nvPr/>
            </p:nvSpPr>
            <p:spPr>
              <a:xfrm>
                <a:off x="6343656" y="1986424"/>
                <a:ext cx="4386237" cy="1345918"/>
              </a:xfrm>
              <a:prstGeom prst="rect">
                <a:avLst/>
              </a:prstGeom>
              <a:noFill/>
            </p:spPr>
            <p:txBody>
              <a:bodyPr wrap="square" rtlCol="0">
                <a:spAutoFit/>
              </a:bodyPr>
              <a:lstStyle/>
              <a:p>
                <a:r>
                  <a:rPr lang="en-US" sz="1400" b="1">
                    <a:solidFill>
                      <a:srgbClr val="2C7AAA"/>
                    </a:solidFill>
                    <a:latin typeface="Calibri" panose="020F0502020204030204" pitchFamily="34" charset="0"/>
                    <a:cs typeface="Calibri" panose="020F0502020204030204" pitchFamily="34" charset="0"/>
                  </a:rPr>
                  <a:t>Any data, regardless of its source or form, that may lead to identifying an individual specifically, or that may directly or indirectly make it possible to identify an individual, including name, personal identification number, addresses, contact numbers, license numbers, records, personal assets, bank and credit card numbers, photos and videos of an individual, and any other data of personal nature.</a:t>
                </a:r>
                <a:endParaRPr lang="id-ID" sz="1400" b="1">
                  <a:solidFill>
                    <a:srgbClr val="2C7AAA"/>
                  </a:solidFill>
                  <a:latin typeface="Calibri" panose="020F0502020204030204" pitchFamily="34" charset="0"/>
                  <a:cs typeface="Calibri" panose="020F0502020204030204" pitchFamily="34" charset="0"/>
                </a:endParaRPr>
              </a:p>
            </p:txBody>
          </p:sp>
        </p:grpSp>
        <p:sp>
          <p:nvSpPr>
            <p:cNvPr id="14" name="TextBox 13">
              <a:extLst>
                <a:ext uri="{FF2B5EF4-FFF2-40B4-BE49-F238E27FC236}">
                  <a16:creationId xmlns:a16="http://schemas.microsoft.com/office/drawing/2014/main" id="{2B1249EE-9F56-BC84-892C-B5F56620984A}"/>
                </a:ext>
              </a:extLst>
            </p:cNvPr>
            <p:cNvSpPr txBox="1"/>
            <p:nvPr/>
          </p:nvSpPr>
          <p:spPr>
            <a:xfrm>
              <a:off x="5893908" y="4269634"/>
              <a:ext cx="4982736" cy="1169551"/>
            </a:xfrm>
            <a:prstGeom prst="rect">
              <a:avLst/>
            </a:prstGeom>
            <a:noFill/>
          </p:spPr>
          <p:txBody>
            <a:bodyPr wrap="square" rtlCol="0">
              <a:spAutoFit/>
            </a:bodyPr>
            <a:lstStyle/>
            <a:p>
              <a:r>
                <a:rPr lang="en-US" sz="1400" b="1">
                  <a:solidFill>
                    <a:srgbClr val="2C7AAA"/>
                  </a:solidFill>
                  <a:latin typeface="Calibri" panose="020F0502020204030204" pitchFamily="34" charset="0"/>
                  <a:cs typeface="Calibri" panose="020F0502020204030204" pitchFamily="34" charset="0"/>
                </a:rPr>
                <a:t>Personal Data revealing racial or ethnic origin, or religious, intellectual or political belief, data relating to security criminal convictions and offenses, biometric or Genetic Data for the purpose of identifying the person, Health Data, and data that indicates that one or both individual’s parents are unknown.</a:t>
              </a:r>
              <a:endParaRPr lang="id-ID" sz="1400" b="1">
                <a:solidFill>
                  <a:srgbClr val="2C7AAA"/>
                </a:solidFill>
                <a:latin typeface="Calibri" panose="020F0502020204030204" pitchFamily="34" charset="0"/>
                <a:cs typeface="Calibri" panose="020F0502020204030204" pitchFamily="34" charset="0"/>
              </a:endParaRPr>
            </a:p>
          </p:txBody>
        </p:sp>
      </p:grpSp>
      <p:sp>
        <p:nvSpPr>
          <p:cNvPr id="15" name="Text Placeholder 14">
            <a:extLst>
              <a:ext uri="{FF2B5EF4-FFF2-40B4-BE49-F238E27FC236}">
                <a16:creationId xmlns:a16="http://schemas.microsoft.com/office/drawing/2014/main" id="{3198B797-EE96-5D58-8660-DEC074187249}"/>
              </a:ext>
            </a:extLst>
          </p:cNvPr>
          <p:cNvSpPr>
            <a:spLocks noGrp="1"/>
          </p:cNvSpPr>
          <p:nvPr>
            <p:ph type="body" sz="quarter" idx="14"/>
          </p:nvPr>
        </p:nvSpPr>
        <p:spPr/>
        <p:txBody>
          <a:bodyPr/>
          <a:lstStyle/>
          <a:p>
            <a:r>
              <a:rPr lang="en-US"/>
              <a:t>PERSONAL DATA AND SENSITIVE PERSONAL DATA</a:t>
            </a:r>
          </a:p>
        </p:txBody>
      </p:sp>
    </p:spTree>
    <p:extLst>
      <p:ext uri="{BB962C8B-B14F-4D97-AF65-F5344CB8AC3E}">
        <p14:creationId xmlns:p14="http://schemas.microsoft.com/office/powerpoint/2010/main" val="1584045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8DC4B17-0498-FEB9-BFC7-41BB47E779ED}"/>
              </a:ext>
            </a:extLst>
          </p:cNvPr>
          <p:cNvSpPr/>
          <p:nvPr/>
        </p:nvSpPr>
        <p:spPr>
          <a:xfrm rot="16200000">
            <a:off x="-2440459" y="2440460"/>
            <a:ext cx="6301949" cy="14210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i="0">
                <a:solidFill>
                  <a:schemeClr val="bg1"/>
                </a:solidFill>
                <a:effectLst/>
              </a:rPr>
              <a:t>PENALTIES FOR NON-COMPLIANCE</a:t>
            </a:r>
          </a:p>
        </p:txBody>
      </p:sp>
      <p:sp>
        <p:nvSpPr>
          <p:cNvPr id="33" name="Footer Text">
            <a:extLst>
              <a:ext uri="{FF2B5EF4-FFF2-40B4-BE49-F238E27FC236}">
                <a16:creationId xmlns:a16="http://schemas.microsoft.com/office/drawing/2014/main" id="{06AAAE6D-7A38-09AB-CF30-629F52CD906C}"/>
              </a:ext>
            </a:extLst>
          </p:cNvPr>
          <p:cNvSpPr txBox="1"/>
          <p:nvPr/>
        </p:nvSpPr>
        <p:spPr>
          <a:xfrm>
            <a:off x="4205562" y="4342877"/>
            <a:ext cx="5655130" cy="861774"/>
          </a:xfrm>
          <a:prstGeom prst="rect">
            <a:avLst/>
          </a:prstGeom>
          <a:noFill/>
        </p:spPr>
        <p:txBody>
          <a:bodyPr wrap="square" lIns="0" tIns="0" rIns="0" bIns="0" rtlCol="0" anchor="ctr">
            <a:spAutoFit/>
          </a:bodyPr>
          <a:lstStyle/>
          <a:p>
            <a:pPr>
              <a:spcAft>
                <a:spcPts val="776"/>
              </a:spcAft>
            </a:pPr>
            <a:r>
              <a:rPr lang="en-US" sz="1400" b="1">
                <a:solidFill>
                  <a:schemeClr val="bg1">
                    <a:alpha val="80000"/>
                  </a:schemeClr>
                </a:solidFill>
                <a:ea typeface="Roboto" panose="02000000000000000000" pitchFamily="2" charset="0"/>
              </a:rPr>
              <a:t>The PDPL was originally set to be enforced on March 23, 2022. However, SDAIA submitted proposed amendments to the PDPL  for public consultation from 20th November 2022 till 20th December 2022. On March 21st, 2023, the Saudi Council of Ministers passed amendments to the PDPL.</a:t>
            </a:r>
            <a:endParaRPr lang="en-US" sz="900">
              <a:solidFill>
                <a:schemeClr val="bg1">
                  <a:alpha val="80000"/>
                </a:schemeClr>
              </a:solidFill>
              <a:ea typeface="Roboto" panose="02000000000000000000" pitchFamily="2" charset="0"/>
            </a:endParaRPr>
          </a:p>
        </p:txBody>
      </p:sp>
      <p:grpSp>
        <p:nvGrpSpPr>
          <p:cNvPr id="64" name="Group 63">
            <a:extLst>
              <a:ext uri="{FF2B5EF4-FFF2-40B4-BE49-F238E27FC236}">
                <a16:creationId xmlns:a16="http://schemas.microsoft.com/office/drawing/2014/main" id="{16BE5E31-F5F9-A51F-9BA7-81125B0E5F9C}"/>
              </a:ext>
            </a:extLst>
          </p:cNvPr>
          <p:cNvGrpSpPr/>
          <p:nvPr/>
        </p:nvGrpSpPr>
        <p:grpSpPr>
          <a:xfrm>
            <a:off x="4205561" y="444"/>
            <a:ext cx="5913706" cy="6579975"/>
            <a:chOff x="2901769" y="444"/>
            <a:chExt cx="5913706" cy="6579975"/>
          </a:xfrm>
        </p:grpSpPr>
        <p:grpSp>
          <p:nvGrpSpPr>
            <p:cNvPr id="11" name="Group 10">
              <a:extLst>
                <a:ext uri="{FF2B5EF4-FFF2-40B4-BE49-F238E27FC236}">
                  <a16:creationId xmlns:a16="http://schemas.microsoft.com/office/drawing/2014/main" id="{7838D943-8AD9-F2F4-97CD-F70C408DD5A7}"/>
                </a:ext>
              </a:extLst>
            </p:cNvPr>
            <p:cNvGrpSpPr/>
            <p:nvPr/>
          </p:nvGrpSpPr>
          <p:grpSpPr>
            <a:xfrm>
              <a:off x="2901769" y="444"/>
              <a:ext cx="5913706" cy="6579975"/>
              <a:chOff x="1727878" y="463"/>
              <a:chExt cx="6068640" cy="6858003"/>
            </a:xfrm>
          </p:grpSpPr>
          <p:sp>
            <p:nvSpPr>
              <p:cNvPr id="17" name="Rectangle 16">
                <a:extLst>
                  <a:ext uri="{FF2B5EF4-FFF2-40B4-BE49-F238E27FC236}">
                    <a16:creationId xmlns:a16="http://schemas.microsoft.com/office/drawing/2014/main" id="{732AF896-0FB5-2E62-2A4D-DA82BD2A1E60}"/>
                  </a:ext>
                </a:extLst>
              </p:cNvPr>
              <p:cNvSpPr/>
              <p:nvPr/>
            </p:nvSpPr>
            <p:spPr>
              <a:xfrm>
                <a:off x="6482433" y="463"/>
                <a:ext cx="1314085" cy="6858003"/>
              </a:xfrm>
              <a:prstGeom prst="rect">
                <a:avLst/>
              </a:prstGeom>
              <a:gradFill flip="none" rotWithShape="1">
                <a:gsLst>
                  <a:gs pos="0">
                    <a:schemeClr val="bg1">
                      <a:lumMod val="95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7" name="Right Triangle 26">
                <a:extLst>
                  <a:ext uri="{FF2B5EF4-FFF2-40B4-BE49-F238E27FC236}">
                    <a16:creationId xmlns:a16="http://schemas.microsoft.com/office/drawing/2014/main" id="{63C98EFE-F8C5-93E2-5B26-F677A6D61AB4}"/>
                  </a:ext>
                </a:extLst>
              </p:cNvPr>
              <p:cNvSpPr/>
              <p:nvPr/>
            </p:nvSpPr>
            <p:spPr>
              <a:xfrm rot="10800000">
                <a:off x="1727879" y="2850486"/>
                <a:ext cx="458182" cy="459846"/>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grpSp>
            <p:nvGrpSpPr>
              <p:cNvPr id="28" name="Group 27">
                <a:extLst>
                  <a:ext uri="{FF2B5EF4-FFF2-40B4-BE49-F238E27FC236}">
                    <a16:creationId xmlns:a16="http://schemas.microsoft.com/office/drawing/2014/main" id="{A714B512-FAA4-211C-3E3C-8B4589A8CA8E}"/>
                  </a:ext>
                </a:extLst>
              </p:cNvPr>
              <p:cNvGrpSpPr/>
              <p:nvPr/>
            </p:nvGrpSpPr>
            <p:grpSpPr>
              <a:xfrm>
                <a:off x="2186061" y="643647"/>
                <a:ext cx="589567" cy="4467077"/>
                <a:chOff x="5867399" y="1386681"/>
                <a:chExt cx="683871" cy="5181600"/>
              </a:xfrm>
            </p:grpSpPr>
            <p:sp>
              <p:nvSpPr>
                <p:cNvPr id="53" name="Rectangle 52">
                  <a:extLst>
                    <a:ext uri="{FF2B5EF4-FFF2-40B4-BE49-F238E27FC236}">
                      <a16:creationId xmlns:a16="http://schemas.microsoft.com/office/drawing/2014/main" id="{9E2EF4AE-E3C1-235D-9E8B-8BB3D5EFC18A}"/>
                    </a:ext>
                  </a:extLst>
                </p:cNvPr>
                <p:cNvSpPr/>
                <p:nvPr/>
              </p:nvSpPr>
              <p:spPr>
                <a:xfrm>
                  <a:off x="5867400" y="1504709"/>
                  <a:ext cx="457200" cy="4945544"/>
                </a:xfrm>
                <a:prstGeom prst="rect">
                  <a:avLst/>
                </a:prstGeom>
                <a:solidFill>
                  <a:schemeClr val="bg1"/>
                </a:solidFill>
                <a:ln>
                  <a:noFill/>
                </a:ln>
                <a:effectLst>
                  <a:outerShdw blurRad="127000" dist="63500" dir="10800000" sx="86000" sy="86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54" name="Rectangle 53">
                  <a:extLst>
                    <a:ext uri="{FF2B5EF4-FFF2-40B4-BE49-F238E27FC236}">
                      <a16:creationId xmlns:a16="http://schemas.microsoft.com/office/drawing/2014/main" id="{C73E0474-60A5-FB3F-D253-A233191B2D2D}"/>
                    </a:ext>
                  </a:extLst>
                </p:cNvPr>
                <p:cNvSpPr/>
                <p:nvPr/>
              </p:nvSpPr>
              <p:spPr>
                <a:xfrm>
                  <a:off x="5867399" y="1386681"/>
                  <a:ext cx="683871" cy="518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grpSp>
          <p:sp>
            <p:nvSpPr>
              <p:cNvPr id="29" name="Freeform 59">
                <a:extLst>
                  <a:ext uri="{FF2B5EF4-FFF2-40B4-BE49-F238E27FC236}">
                    <a16:creationId xmlns:a16="http://schemas.microsoft.com/office/drawing/2014/main" id="{D37BC709-7699-A410-C33A-F6199873AE4E}"/>
                  </a:ext>
                </a:extLst>
              </p:cNvPr>
              <p:cNvSpPr/>
              <p:nvPr/>
            </p:nvSpPr>
            <p:spPr>
              <a:xfrm>
                <a:off x="1727878" y="1996485"/>
                <a:ext cx="2035628" cy="854001"/>
              </a:xfrm>
              <a:custGeom>
                <a:avLst/>
                <a:gdLst>
                  <a:gd name="connsiteX0" fmla="*/ 0 w 2361236"/>
                  <a:gd name="connsiteY0" fmla="*/ 0 h 990600"/>
                  <a:gd name="connsiteX1" fmla="*/ 2361236 w 2361236"/>
                  <a:gd name="connsiteY1" fmla="*/ 0 h 990600"/>
                  <a:gd name="connsiteX2" fmla="*/ 2361236 w 2361236"/>
                  <a:gd name="connsiteY2" fmla="*/ 495300 h 990600"/>
                  <a:gd name="connsiteX3" fmla="*/ 1865936 w 2361236"/>
                  <a:gd name="connsiteY3" fmla="*/ 990600 h 990600"/>
                  <a:gd name="connsiteX4" fmla="*/ 0 w 2361236"/>
                  <a:gd name="connsiteY4" fmla="*/ 990600 h 990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236" h="990600">
                    <a:moveTo>
                      <a:pt x="0" y="0"/>
                    </a:moveTo>
                    <a:lnTo>
                      <a:pt x="2361236" y="0"/>
                    </a:lnTo>
                    <a:lnTo>
                      <a:pt x="2361236" y="495300"/>
                    </a:lnTo>
                    <a:cubicBezTo>
                      <a:pt x="2361236" y="768847"/>
                      <a:pt x="2139483" y="990600"/>
                      <a:pt x="1865936" y="990600"/>
                    </a:cubicBezTo>
                    <a:lnTo>
                      <a:pt x="0" y="990600"/>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30" name="Rectangle 29">
                <a:extLst>
                  <a:ext uri="{FF2B5EF4-FFF2-40B4-BE49-F238E27FC236}">
                    <a16:creationId xmlns:a16="http://schemas.microsoft.com/office/drawing/2014/main" id="{6889E809-6483-479F-4447-E97913B20744}"/>
                  </a:ext>
                </a:extLst>
              </p:cNvPr>
              <p:cNvSpPr/>
              <p:nvPr/>
            </p:nvSpPr>
            <p:spPr>
              <a:xfrm flipH="1">
                <a:off x="2464631" y="2340484"/>
                <a:ext cx="1094420" cy="166004"/>
              </a:xfrm>
              <a:prstGeom prst="rect">
                <a:avLst/>
              </a:prstGeom>
            </p:spPr>
            <p:txBody>
              <a:bodyPr wrap="square" lIns="0" tIns="0" rIns="0" bIns="0" anchor="ctr">
                <a:spAutoFit/>
              </a:bodyPr>
              <a:lstStyle/>
              <a:p>
                <a:endParaRPr lang="en-US" sz="1035" spc="517">
                  <a:solidFill>
                    <a:schemeClr val="bg1"/>
                  </a:solidFill>
                  <a:latin typeface="Agency FB" panose="020B0503020202020204" pitchFamily="34" charset="0"/>
                  <a:ea typeface="Adobe Fan Heiti Std B" panose="020B0700000000000000" pitchFamily="34" charset="-128"/>
                  <a:cs typeface="Arial" panose="020B0604020202020204" pitchFamily="34" charset="0"/>
                </a:endParaRPr>
              </a:p>
            </p:txBody>
          </p:sp>
          <p:sp>
            <p:nvSpPr>
              <p:cNvPr id="31" name="Footer Text">
                <a:extLst>
                  <a:ext uri="{FF2B5EF4-FFF2-40B4-BE49-F238E27FC236}">
                    <a16:creationId xmlns:a16="http://schemas.microsoft.com/office/drawing/2014/main" id="{C434854A-C6F6-2118-F2A4-94CB7296115C}"/>
                  </a:ext>
                </a:extLst>
              </p:cNvPr>
              <p:cNvSpPr txBox="1"/>
              <p:nvPr/>
            </p:nvSpPr>
            <p:spPr>
              <a:xfrm>
                <a:off x="2464631" y="3799395"/>
                <a:ext cx="1189629" cy="152038"/>
              </a:xfrm>
              <a:prstGeom prst="rect">
                <a:avLst/>
              </a:prstGeom>
              <a:noFill/>
            </p:spPr>
            <p:txBody>
              <a:bodyPr wrap="square" lIns="0" tIns="0" rIns="0" bIns="0" rtlCol="0" anchor="ctr">
                <a:spAutoFit/>
              </a:bodyPr>
              <a:lstStyle/>
              <a:p>
                <a:pPr>
                  <a:spcAft>
                    <a:spcPts val="517"/>
                  </a:spcAft>
                </a:pPr>
                <a:endParaRPr lang="en-US" sz="948">
                  <a:solidFill>
                    <a:schemeClr val="tx1">
                      <a:lumMod val="75000"/>
                      <a:lumOff val="25000"/>
                      <a:alpha val="80000"/>
                    </a:schemeClr>
                  </a:solidFill>
                  <a:latin typeface="Calibri" panose="020F0502020204030204" pitchFamily="34" charset="0"/>
                  <a:ea typeface="Roboto" panose="02000000000000000000" pitchFamily="2" charset="0"/>
                  <a:cs typeface="Calibri" panose="020F0502020204030204" pitchFamily="34" charset="0"/>
                </a:endParaRPr>
              </a:p>
            </p:txBody>
          </p:sp>
          <p:sp>
            <p:nvSpPr>
              <p:cNvPr id="43" name="Right Triangle 42">
                <a:extLst>
                  <a:ext uri="{FF2B5EF4-FFF2-40B4-BE49-F238E27FC236}">
                    <a16:creationId xmlns:a16="http://schemas.microsoft.com/office/drawing/2014/main" id="{51841B01-8BC5-ACB9-26C8-73F237A0B414}"/>
                  </a:ext>
                </a:extLst>
              </p:cNvPr>
              <p:cNvSpPr/>
              <p:nvPr/>
            </p:nvSpPr>
            <p:spPr>
              <a:xfrm rot="10800000">
                <a:off x="3961413" y="3954115"/>
                <a:ext cx="458182" cy="459846"/>
              </a:xfrm>
              <a:prstGeom prst="r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grpSp>
            <p:nvGrpSpPr>
              <p:cNvPr id="44" name="Group 43">
                <a:extLst>
                  <a:ext uri="{FF2B5EF4-FFF2-40B4-BE49-F238E27FC236}">
                    <a16:creationId xmlns:a16="http://schemas.microsoft.com/office/drawing/2014/main" id="{E44C84B8-2B51-C67F-6F9F-D8E93419B460}"/>
                  </a:ext>
                </a:extLst>
              </p:cNvPr>
              <p:cNvGrpSpPr/>
              <p:nvPr/>
            </p:nvGrpSpPr>
            <p:grpSpPr>
              <a:xfrm>
                <a:off x="4419604" y="1747278"/>
                <a:ext cx="589567" cy="4467076"/>
                <a:chOff x="5867399" y="1386681"/>
                <a:chExt cx="683871" cy="5181600"/>
              </a:xfrm>
            </p:grpSpPr>
            <p:sp>
              <p:nvSpPr>
                <p:cNvPr id="49" name="Rectangle 48">
                  <a:extLst>
                    <a:ext uri="{FF2B5EF4-FFF2-40B4-BE49-F238E27FC236}">
                      <a16:creationId xmlns:a16="http://schemas.microsoft.com/office/drawing/2014/main" id="{0A4DEDD5-62D9-B7C0-0B31-251C424EAFB3}"/>
                    </a:ext>
                  </a:extLst>
                </p:cNvPr>
                <p:cNvSpPr/>
                <p:nvPr/>
              </p:nvSpPr>
              <p:spPr>
                <a:xfrm>
                  <a:off x="5867400" y="1504709"/>
                  <a:ext cx="457200" cy="4945544"/>
                </a:xfrm>
                <a:prstGeom prst="rect">
                  <a:avLst/>
                </a:prstGeom>
                <a:solidFill>
                  <a:schemeClr val="bg1"/>
                </a:solidFill>
                <a:ln>
                  <a:noFill/>
                </a:ln>
                <a:effectLst>
                  <a:outerShdw blurRad="127000" dist="63500" dir="10800000" sx="86000" sy="86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50" name="Rectangle 49">
                  <a:extLst>
                    <a:ext uri="{FF2B5EF4-FFF2-40B4-BE49-F238E27FC236}">
                      <a16:creationId xmlns:a16="http://schemas.microsoft.com/office/drawing/2014/main" id="{EF7CB7E2-A453-E700-38D8-9949531F5C9B}"/>
                    </a:ext>
                  </a:extLst>
                </p:cNvPr>
                <p:cNvSpPr/>
                <p:nvPr/>
              </p:nvSpPr>
              <p:spPr>
                <a:xfrm>
                  <a:off x="5867399" y="1386681"/>
                  <a:ext cx="683871" cy="518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grpSp>
          <p:sp>
            <p:nvSpPr>
              <p:cNvPr id="45" name="Freeform 65">
                <a:extLst>
                  <a:ext uri="{FF2B5EF4-FFF2-40B4-BE49-F238E27FC236}">
                    <a16:creationId xmlns:a16="http://schemas.microsoft.com/office/drawing/2014/main" id="{98407C54-0DFA-6F03-151D-C59B5D6B1CF5}"/>
                  </a:ext>
                </a:extLst>
              </p:cNvPr>
              <p:cNvSpPr/>
              <p:nvPr/>
            </p:nvSpPr>
            <p:spPr>
              <a:xfrm>
                <a:off x="3961413" y="3100116"/>
                <a:ext cx="2035628" cy="854001"/>
              </a:xfrm>
              <a:custGeom>
                <a:avLst/>
                <a:gdLst>
                  <a:gd name="connsiteX0" fmla="*/ 0 w 2361236"/>
                  <a:gd name="connsiteY0" fmla="*/ 0 h 990600"/>
                  <a:gd name="connsiteX1" fmla="*/ 2361236 w 2361236"/>
                  <a:gd name="connsiteY1" fmla="*/ 0 h 990600"/>
                  <a:gd name="connsiteX2" fmla="*/ 2361236 w 2361236"/>
                  <a:gd name="connsiteY2" fmla="*/ 495300 h 990600"/>
                  <a:gd name="connsiteX3" fmla="*/ 1865936 w 2361236"/>
                  <a:gd name="connsiteY3" fmla="*/ 990600 h 990600"/>
                  <a:gd name="connsiteX4" fmla="*/ 0 w 2361236"/>
                  <a:gd name="connsiteY4" fmla="*/ 990600 h 990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236" h="990600">
                    <a:moveTo>
                      <a:pt x="0" y="0"/>
                    </a:moveTo>
                    <a:lnTo>
                      <a:pt x="2361236" y="0"/>
                    </a:lnTo>
                    <a:lnTo>
                      <a:pt x="2361236" y="495300"/>
                    </a:lnTo>
                    <a:cubicBezTo>
                      <a:pt x="2361236" y="768847"/>
                      <a:pt x="2139483" y="990600"/>
                      <a:pt x="1865936" y="990600"/>
                    </a:cubicBezTo>
                    <a:lnTo>
                      <a:pt x="0" y="990600"/>
                    </a:ln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46" name="Rectangle 45">
                <a:extLst>
                  <a:ext uri="{FF2B5EF4-FFF2-40B4-BE49-F238E27FC236}">
                    <a16:creationId xmlns:a16="http://schemas.microsoft.com/office/drawing/2014/main" id="{C658807A-6C0F-4450-174F-5BBD8D93834A}"/>
                  </a:ext>
                </a:extLst>
              </p:cNvPr>
              <p:cNvSpPr/>
              <p:nvPr/>
            </p:nvSpPr>
            <p:spPr>
              <a:xfrm flipH="1">
                <a:off x="4698167" y="3250610"/>
                <a:ext cx="1094420" cy="553014"/>
              </a:xfrm>
              <a:prstGeom prst="rect">
                <a:avLst/>
              </a:prstGeom>
            </p:spPr>
            <p:txBody>
              <a:bodyPr wrap="square" lIns="0" tIns="0" rIns="0" bIns="0" anchor="ctr">
                <a:spAutoFit/>
              </a:bodyPr>
              <a:lstStyle/>
              <a:p>
                <a:endParaRPr lang="en-US" sz="3448" b="1" spc="517">
                  <a:solidFill>
                    <a:schemeClr val="bg1"/>
                  </a:solidFill>
                  <a:latin typeface="Agency FB" panose="020B0503020202020204" pitchFamily="34" charset="0"/>
                  <a:ea typeface="Adobe Fan Heiti Std B" panose="020B0700000000000000" pitchFamily="34" charset="-128"/>
                  <a:cs typeface="Arial" panose="020B0604020202020204" pitchFamily="34" charset="0"/>
                </a:endParaRPr>
              </a:p>
            </p:txBody>
          </p:sp>
          <p:sp>
            <p:nvSpPr>
              <p:cNvPr id="47" name="Footer Text">
                <a:extLst>
                  <a:ext uri="{FF2B5EF4-FFF2-40B4-BE49-F238E27FC236}">
                    <a16:creationId xmlns:a16="http://schemas.microsoft.com/office/drawing/2014/main" id="{66BC9360-9834-DCEC-DDE3-29D55A11D9FF}"/>
                  </a:ext>
                </a:extLst>
              </p:cNvPr>
              <p:cNvSpPr txBox="1"/>
              <p:nvPr/>
            </p:nvSpPr>
            <p:spPr>
              <a:xfrm>
                <a:off x="4698167" y="4903026"/>
                <a:ext cx="1189629" cy="152038"/>
              </a:xfrm>
              <a:prstGeom prst="rect">
                <a:avLst/>
              </a:prstGeom>
              <a:noFill/>
            </p:spPr>
            <p:txBody>
              <a:bodyPr wrap="square" lIns="0" tIns="0" rIns="0" bIns="0" rtlCol="0" anchor="ctr">
                <a:spAutoFit/>
              </a:bodyPr>
              <a:lstStyle/>
              <a:p>
                <a:pPr>
                  <a:spcAft>
                    <a:spcPts val="517"/>
                  </a:spcAft>
                </a:pPr>
                <a:endParaRPr lang="en-US" sz="948">
                  <a:solidFill>
                    <a:schemeClr val="tx1">
                      <a:lumMod val="75000"/>
                      <a:lumOff val="25000"/>
                      <a:alpha val="80000"/>
                    </a:schemeClr>
                  </a:solidFill>
                  <a:latin typeface="Calibri" panose="020F0502020204030204" pitchFamily="34" charset="0"/>
                  <a:ea typeface="Roboto" panose="02000000000000000000" pitchFamily="2" charset="0"/>
                  <a:cs typeface="Calibri" panose="020F0502020204030204" pitchFamily="34" charset="0"/>
                </a:endParaRPr>
              </a:p>
            </p:txBody>
          </p:sp>
        </p:grpSp>
        <p:sp>
          <p:nvSpPr>
            <p:cNvPr id="56" name="TextBox 55">
              <a:extLst>
                <a:ext uri="{FF2B5EF4-FFF2-40B4-BE49-F238E27FC236}">
                  <a16:creationId xmlns:a16="http://schemas.microsoft.com/office/drawing/2014/main" id="{D6E3CDE5-F5BB-3BF9-80EC-837D47D276B7}"/>
                </a:ext>
              </a:extLst>
            </p:cNvPr>
            <p:cNvSpPr txBox="1"/>
            <p:nvPr/>
          </p:nvSpPr>
          <p:spPr>
            <a:xfrm>
              <a:off x="2953543" y="1957001"/>
              <a:ext cx="1951460" cy="738664"/>
            </a:xfrm>
            <a:prstGeom prst="rect">
              <a:avLst/>
            </a:prstGeom>
            <a:noFill/>
          </p:spPr>
          <p:txBody>
            <a:bodyPr wrap="square">
              <a:spAutoFit/>
            </a:bodyPr>
            <a:lstStyle/>
            <a:p>
              <a:r>
                <a:rPr lang="en-US" sz="1400" b="1">
                  <a:solidFill>
                    <a:schemeClr val="bg1"/>
                  </a:solidFill>
                </a:rPr>
                <a:t>For disclosing or publishing sensitive personal data</a:t>
              </a:r>
            </a:p>
          </p:txBody>
        </p:sp>
        <p:sp>
          <p:nvSpPr>
            <p:cNvPr id="58" name="TextBox 57">
              <a:extLst>
                <a:ext uri="{FF2B5EF4-FFF2-40B4-BE49-F238E27FC236}">
                  <a16:creationId xmlns:a16="http://schemas.microsoft.com/office/drawing/2014/main" id="{509652E2-F896-C1CA-37BA-1DB6B33A7B3A}"/>
                </a:ext>
              </a:extLst>
            </p:cNvPr>
            <p:cNvSpPr txBox="1"/>
            <p:nvPr/>
          </p:nvSpPr>
          <p:spPr>
            <a:xfrm>
              <a:off x="3407183" y="2977695"/>
              <a:ext cx="1560855" cy="3108543"/>
            </a:xfrm>
            <a:prstGeom prst="rect">
              <a:avLst/>
            </a:prstGeom>
            <a:noFill/>
          </p:spPr>
          <p:txBody>
            <a:bodyPr wrap="square">
              <a:spAutoFit/>
            </a:bodyPr>
            <a:lstStyle/>
            <a:p>
              <a:r>
                <a:rPr lang="en-US" sz="1400"/>
                <a:t>Imprisonment for up to two years and/or a fine not exceeding SAR 3 million ($800,000); both organizations and individuals can therefore be sanctioned.</a:t>
              </a:r>
            </a:p>
            <a:p>
              <a:r>
                <a:rPr lang="en-US" sz="1400"/>
                <a:t>The court may double the penalty of the fine in case of repetition of offenses.</a:t>
              </a:r>
            </a:p>
          </p:txBody>
        </p:sp>
        <p:sp>
          <p:nvSpPr>
            <p:cNvPr id="60" name="TextBox 59">
              <a:extLst>
                <a:ext uri="{FF2B5EF4-FFF2-40B4-BE49-F238E27FC236}">
                  <a16:creationId xmlns:a16="http://schemas.microsoft.com/office/drawing/2014/main" id="{C502C52F-06EA-1F7A-596D-5534E62935E9}"/>
                </a:ext>
              </a:extLst>
            </p:cNvPr>
            <p:cNvSpPr txBox="1"/>
            <p:nvPr/>
          </p:nvSpPr>
          <p:spPr>
            <a:xfrm>
              <a:off x="5141066" y="3097006"/>
              <a:ext cx="1887908" cy="523220"/>
            </a:xfrm>
            <a:prstGeom prst="rect">
              <a:avLst/>
            </a:prstGeom>
            <a:noFill/>
          </p:spPr>
          <p:txBody>
            <a:bodyPr wrap="square">
              <a:spAutoFit/>
            </a:bodyPr>
            <a:lstStyle/>
            <a:p>
              <a:r>
                <a:rPr lang="en-US" sz="1400" b="1">
                  <a:solidFill>
                    <a:schemeClr val="bg1"/>
                  </a:solidFill>
                </a:rPr>
                <a:t>For violations of other provisions of the PDPL</a:t>
              </a:r>
            </a:p>
          </p:txBody>
        </p:sp>
        <p:sp>
          <p:nvSpPr>
            <p:cNvPr id="62" name="TextBox 61">
              <a:extLst>
                <a:ext uri="{FF2B5EF4-FFF2-40B4-BE49-F238E27FC236}">
                  <a16:creationId xmlns:a16="http://schemas.microsoft.com/office/drawing/2014/main" id="{3EB11341-A917-C53D-EEF0-28CEA663BCF9}"/>
                </a:ext>
              </a:extLst>
            </p:cNvPr>
            <p:cNvSpPr txBox="1"/>
            <p:nvPr/>
          </p:nvSpPr>
          <p:spPr>
            <a:xfrm>
              <a:off x="5652681" y="3825707"/>
              <a:ext cx="1819964" cy="2031325"/>
            </a:xfrm>
            <a:prstGeom prst="rect">
              <a:avLst/>
            </a:prstGeom>
            <a:noFill/>
          </p:spPr>
          <p:txBody>
            <a:bodyPr wrap="square">
              <a:spAutoFit/>
            </a:bodyPr>
            <a:lstStyle/>
            <a:p>
              <a:r>
                <a:rPr lang="en-US" sz="1400"/>
                <a:t>Penalties are limited to a warning notice or a fine not exceeding SAR 5 million ($1.3 million). </a:t>
              </a:r>
            </a:p>
            <a:p>
              <a:r>
                <a:rPr lang="en-US" sz="1400"/>
                <a:t>The court may double the penalty of the fine in case of repetition of offenses.</a:t>
              </a:r>
            </a:p>
          </p:txBody>
        </p:sp>
      </p:grpSp>
      <p:pic>
        <p:nvPicPr>
          <p:cNvPr id="71" name="Picture 70">
            <a:extLst>
              <a:ext uri="{FF2B5EF4-FFF2-40B4-BE49-F238E27FC236}">
                <a16:creationId xmlns:a16="http://schemas.microsoft.com/office/drawing/2014/main" id="{4EA62C52-8003-275F-CC88-D9E9EED8E5F8}"/>
              </a:ext>
            </a:extLst>
          </p:cNvPr>
          <p:cNvPicPr>
            <a:picLocks noChangeAspect="1"/>
          </p:cNvPicPr>
          <p:nvPr/>
        </p:nvPicPr>
        <p:blipFill>
          <a:blip r:embed="rId2"/>
          <a:stretch>
            <a:fillRect/>
          </a:stretch>
        </p:blipFill>
        <p:spPr>
          <a:xfrm>
            <a:off x="4794566" y="1048508"/>
            <a:ext cx="988588" cy="819379"/>
          </a:xfrm>
          <a:prstGeom prst="rect">
            <a:avLst/>
          </a:prstGeom>
        </p:spPr>
      </p:pic>
      <p:pic>
        <p:nvPicPr>
          <p:cNvPr id="72" name="Picture 71">
            <a:extLst>
              <a:ext uri="{FF2B5EF4-FFF2-40B4-BE49-F238E27FC236}">
                <a16:creationId xmlns:a16="http://schemas.microsoft.com/office/drawing/2014/main" id="{4EA7A040-41E7-6F9F-4302-9E41B9BE8F94}"/>
              </a:ext>
            </a:extLst>
          </p:cNvPr>
          <p:cNvPicPr>
            <a:picLocks noChangeAspect="1"/>
          </p:cNvPicPr>
          <p:nvPr/>
        </p:nvPicPr>
        <p:blipFill>
          <a:blip r:embed="rId2"/>
          <a:stretch>
            <a:fillRect/>
          </a:stretch>
        </p:blipFill>
        <p:spPr>
          <a:xfrm>
            <a:off x="7033127" y="2141252"/>
            <a:ext cx="988588" cy="819379"/>
          </a:xfrm>
          <a:prstGeom prst="rect">
            <a:avLst/>
          </a:prstGeom>
        </p:spPr>
      </p:pic>
    </p:spTree>
    <p:extLst>
      <p:ext uri="{BB962C8B-B14F-4D97-AF65-F5344CB8AC3E}">
        <p14:creationId xmlns:p14="http://schemas.microsoft.com/office/powerpoint/2010/main" val="18014168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8DC4B17-0498-FEB9-BFC7-41BB47E779ED}"/>
              </a:ext>
            </a:extLst>
          </p:cNvPr>
          <p:cNvSpPr/>
          <p:nvPr/>
        </p:nvSpPr>
        <p:spPr>
          <a:xfrm rot="16200000">
            <a:off x="-2440459" y="2440460"/>
            <a:ext cx="6301949" cy="14210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a:t>PDPL KEY THEMES AND REQUIREMENTS</a:t>
            </a:r>
          </a:p>
        </p:txBody>
      </p:sp>
      <p:sp>
        <p:nvSpPr>
          <p:cNvPr id="33" name="Footer Text">
            <a:extLst>
              <a:ext uri="{FF2B5EF4-FFF2-40B4-BE49-F238E27FC236}">
                <a16:creationId xmlns:a16="http://schemas.microsoft.com/office/drawing/2014/main" id="{06AAAE6D-7A38-09AB-CF30-629F52CD906C}"/>
              </a:ext>
            </a:extLst>
          </p:cNvPr>
          <p:cNvSpPr txBox="1"/>
          <p:nvPr/>
        </p:nvSpPr>
        <p:spPr>
          <a:xfrm>
            <a:off x="4205562" y="4342877"/>
            <a:ext cx="5655130" cy="861774"/>
          </a:xfrm>
          <a:prstGeom prst="rect">
            <a:avLst/>
          </a:prstGeom>
          <a:noFill/>
        </p:spPr>
        <p:txBody>
          <a:bodyPr wrap="square" lIns="0" tIns="0" rIns="0" bIns="0" rtlCol="0" anchor="ctr">
            <a:spAutoFit/>
          </a:bodyPr>
          <a:lstStyle/>
          <a:p>
            <a:pPr>
              <a:spcAft>
                <a:spcPts val="776"/>
              </a:spcAft>
            </a:pPr>
            <a:r>
              <a:rPr lang="en-US" sz="1400" b="1">
                <a:solidFill>
                  <a:schemeClr val="bg1">
                    <a:alpha val="80000"/>
                  </a:schemeClr>
                </a:solidFill>
                <a:ea typeface="Roboto" panose="02000000000000000000" pitchFamily="2" charset="0"/>
              </a:rPr>
              <a:t>The PDPL was originally set to be enforced on March 23, 2022. However, SDAIA submitted proposed amendments to the PDPL  for public consultation from 20th November 2022 till 20th December 2022. On March 21st, 2023, the Saudi Council of Ministers passed amendments to the PDPL.</a:t>
            </a:r>
            <a:endParaRPr lang="en-US" sz="900">
              <a:solidFill>
                <a:schemeClr val="bg1">
                  <a:alpha val="80000"/>
                </a:schemeClr>
              </a:solidFill>
              <a:ea typeface="Roboto" panose="02000000000000000000" pitchFamily="2" charset="0"/>
            </a:endParaRPr>
          </a:p>
        </p:txBody>
      </p:sp>
      <p:graphicFrame>
        <p:nvGraphicFramePr>
          <p:cNvPr id="2" name="Diagram 1">
            <a:extLst>
              <a:ext uri="{FF2B5EF4-FFF2-40B4-BE49-F238E27FC236}">
                <a16:creationId xmlns:a16="http://schemas.microsoft.com/office/drawing/2014/main" id="{5941AE7A-FE62-B080-EA6C-E9ED79DDD950}"/>
              </a:ext>
            </a:extLst>
          </p:cNvPr>
          <p:cNvGraphicFramePr/>
          <p:nvPr>
            <p:extLst>
              <p:ext uri="{D42A27DB-BD31-4B8C-83A1-F6EECF244321}">
                <p14:modId xmlns:p14="http://schemas.microsoft.com/office/powerpoint/2010/main" val="4166808783"/>
              </p:ext>
            </p:extLst>
          </p:nvPr>
        </p:nvGraphicFramePr>
        <p:xfrm>
          <a:off x="2032000" y="105032"/>
          <a:ext cx="9620422" cy="66479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93079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normAutofit/>
          </a:bodyPr>
          <a:lstStyle/>
          <a:p>
            <a:r>
              <a:rPr lang="en-US" sz="3600"/>
              <a:t>COMPANY PROFILE</a:t>
            </a:r>
            <a:endParaRPr lang="en-GB" sz="3600"/>
          </a:p>
        </p:txBody>
      </p:sp>
    </p:spTree>
    <p:extLst>
      <p:ext uri="{BB962C8B-B14F-4D97-AF65-F5344CB8AC3E}">
        <p14:creationId xmlns:p14="http://schemas.microsoft.com/office/powerpoint/2010/main" val="9362013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8DC4B17-0498-FEB9-BFC7-41BB47E779ED}"/>
              </a:ext>
            </a:extLst>
          </p:cNvPr>
          <p:cNvSpPr/>
          <p:nvPr/>
        </p:nvSpPr>
        <p:spPr>
          <a:xfrm rot="16200000">
            <a:off x="-2440459" y="2440460"/>
            <a:ext cx="6301949" cy="14210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a:t>PDPL KEY THEMES AND REQUIREMENTS</a:t>
            </a:r>
          </a:p>
        </p:txBody>
      </p:sp>
      <p:sp>
        <p:nvSpPr>
          <p:cNvPr id="33" name="Footer Text">
            <a:extLst>
              <a:ext uri="{FF2B5EF4-FFF2-40B4-BE49-F238E27FC236}">
                <a16:creationId xmlns:a16="http://schemas.microsoft.com/office/drawing/2014/main" id="{06AAAE6D-7A38-09AB-CF30-629F52CD906C}"/>
              </a:ext>
            </a:extLst>
          </p:cNvPr>
          <p:cNvSpPr txBox="1"/>
          <p:nvPr/>
        </p:nvSpPr>
        <p:spPr>
          <a:xfrm>
            <a:off x="4205562" y="4342877"/>
            <a:ext cx="5655130" cy="861774"/>
          </a:xfrm>
          <a:prstGeom prst="rect">
            <a:avLst/>
          </a:prstGeom>
          <a:noFill/>
        </p:spPr>
        <p:txBody>
          <a:bodyPr wrap="square" lIns="0" tIns="0" rIns="0" bIns="0" rtlCol="0" anchor="ctr">
            <a:spAutoFit/>
          </a:bodyPr>
          <a:lstStyle/>
          <a:p>
            <a:pPr>
              <a:spcAft>
                <a:spcPts val="776"/>
              </a:spcAft>
            </a:pPr>
            <a:r>
              <a:rPr lang="en-US" sz="1400" b="1">
                <a:solidFill>
                  <a:schemeClr val="bg1">
                    <a:alpha val="80000"/>
                  </a:schemeClr>
                </a:solidFill>
                <a:ea typeface="Roboto" panose="02000000000000000000" pitchFamily="2" charset="0"/>
              </a:rPr>
              <a:t>The PDPL was originally set to be enforced on March 23, 2022. However, SDAIA submitted proposed amendments to the PDPL  for public consultation from 20th November 2022 till 20th December 2022. On March 21st, 2023, the Saudi Council of Ministers passed amendments to the PDPL.</a:t>
            </a:r>
            <a:endParaRPr lang="en-US" sz="900">
              <a:solidFill>
                <a:schemeClr val="bg1">
                  <a:alpha val="80000"/>
                </a:schemeClr>
              </a:solidFill>
              <a:ea typeface="Roboto" panose="02000000000000000000" pitchFamily="2" charset="0"/>
            </a:endParaRPr>
          </a:p>
        </p:txBody>
      </p:sp>
      <p:graphicFrame>
        <p:nvGraphicFramePr>
          <p:cNvPr id="2" name="Diagram 1">
            <a:extLst>
              <a:ext uri="{FF2B5EF4-FFF2-40B4-BE49-F238E27FC236}">
                <a16:creationId xmlns:a16="http://schemas.microsoft.com/office/drawing/2014/main" id="{5941AE7A-FE62-B080-EA6C-E9ED79DDD950}"/>
              </a:ext>
            </a:extLst>
          </p:cNvPr>
          <p:cNvGraphicFramePr/>
          <p:nvPr>
            <p:extLst>
              <p:ext uri="{D42A27DB-BD31-4B8C-83A1-F6EECF244321}">
                <p14:modId xmlns:p14="http://schemas.microsoft.com/office/powerpoint/2010/main" val="360464404"/>
              </p:ext>
            </p:extLst>
          </p:nvPr>
        </p:nvGraphicFramePr>
        <p:xfrm>
          <a:off x="2032000" y="105032"/>
          <a:ext cx="9620422" cy="66479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024534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lnSpcReduction="10000"/>
          </a:bodyPr>
          <a:lstStyle/>
          <a:p>
            <a:r>
              <a:rPr lang="en-GB" sz="3600"/>
              <a:t>GRC360’S PROPOSED METHODOLOGY FOR COMPLIANCE WITH PDPL</a:t>
            </a:r>
          </a:p>
        </p:txBody>
      </p:sp>
    </p:spTree>
    <p:extLst>
      <p:ext uri="{BB962C8B-B14F-4D97-AF65-F5344CB8AC3E}">
        <p14:creationId xmlns:p14="http://schemas.microsoft.com/office/powerpoint/2010/main" val="37402661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64912" y="2163191"/>
            <a:ext cx="3852359" cy="1754326"/>
          </a:xfrm>
          <a:prstGeom prst="rect">
            <a:avLst/>
          </a:prstGeom>
          <a:noFill/>
        </p:spPr>
        <p:txBody>
          <a:bodyPr wrap="square" lIns="91440" tIns="45720" rIns="91440" bIns="45720" rtlCol="0" anchor="t">
            <a:spAutoFit/>
          </a:bodyPr>
          <a:lstStyle/>
          <a:p>
            <a:r>
              <a:rPr lang="en-US" sz="1800" dirty="0"/>
              <a:t>The graphic illustrates the step-by-step process phases that GRC’s expert consultants recommend</a:t>
            </a:r>
            <a:r>
              <a:rPr lang="en-US" dirty="0"/>
              <a:t> in order to</a:t>
            </a:r>
            <a:r>
              <a:rPr lang="en-US" sz="1800" dirty="0"/>
              <a:t> thoroughly meet all of </a:t>
            </a:r>
            <a:r>
              <a:rPr lang="en-US" b="1"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s</a:t>
            </a:r>
            <a:r>
              <a:rPr lang="en-US" sz="1800" dirty="0"/>
              <a:t> compliance requirements for PDPL.</a:t>
            </a:r>
          </a:p>
          <a:p>
            <a:endParaRPr lang="en-US" sz="1800" dirty="0"/>
          </a:p>
        </p:txBody>
      </p:sp>
      <p:sp>
        <p:nvSpPr>
          <p:cNvPr id="8" name="Text Placeholder 7">
            <a:extLst>
              <a:ext uri="{FF2B5EF4-FFF2-40B4-BE49-F238E27FC236}">
                <a16:creationId xmlns:a16="http://schemas.microsoft.com/office/drawing/2014/main" id="{3A9F7E5D-2058-B4B2-4043-646723716A8B}"/>
              </a:ext>
            </a:extLst>
          </p:cNvPr>
          <p:cNvSpPr>
            <a:spLocks noGrp="1"/>
          </p:cNvSpPr>
          <p:nvPr>
            <p:ph type="body" sz="quarter" idx="14"/>
          </p:nvPr>
        </p:nvSpPr>
        <p:spPr>
          <a:xfrm>
            <a:off x="0" y="0"/>
            <a:ext cx="12206514" cy="1467854"/>
          </a:xfrm>
        </p:spPr>
        <p:txBody>
          <a:bodyPr>
            <a:normAutofit/>
          </a:bodyPr>
          <a:lstStyle/>
          <a:p>
            <a:r>
              <a:rPr lang="en-US" sz="3600"/>
              <a:t>GRC360 PROPOSED METHODOLOGY</a:t>
            </a:r>
          </a:p>
        </p:txBody>
      </p:sp>
      <p:grpSp>
        <p:nvGrpSpPr>
          <p:cNvPr id="11" name="Group 10">
            <a:extLst>
              <a:ext uri="{FF2B5EF4-FFF2-40B4-BE49-F238E27FC236}">
                <a16:creationId xmlns:a16="http://schemas.microsoft.com/office/drawing/2014/main" id="{31ABB699-40C6-54CA-0C2A-5AE2DFC68A7E}"/>
              </a:ext>
            </a:extLst>
          </p:cNvPr>
          <p:cNvGrpSpPr/>
          <p:nvPr/>
        </p:nvGrpSpPr>
        <p:grpSpPr>
          <a:xfrm>
            <a:off x="5397627" y="1572358"/>
            <a:ext cx="6107701" cy="4690317"/>
            <a:chOff x="5372227" y="1865685"/>
            <a:chExt cx="6107701" cy="4690317"/>
          </a:xfrm>
        </p:grpSpPr>
        <p:grpSp>
          <p:nvGrpSpPr>
            <p:cNvPr id="53" name="Group 52">
              <a:extLst>
                <a:ext uri="{FF2B5EF4-FFF2-40B4-BE49-F238E27FC236}">
                  <a16:creationId xmlns:a16="http://schemas.microsoft.com/office/drawing/2014/main" id="{84F2C5F1-238B-27D9-CED1-054669B1E5EC}"/>
                </a:ext>
              </a:extLst>
            </p:cNvPr>
            <p:cNvGrpSpPr/>
            <p:nvPr/>
          </p:nvGrpSpPr>
          <p:grpSpPr>
            <a:xfrm>
              <a:off x="5477666" y="1865685"/>
              <a:ext cx="6002262" cy="3783575"/>
              <a:chOff x="4382530" y="1728221"/>
              <a:chExt cx="7531011" cy="4504117"/>
            </a:xfrm>
          </p:grpSpPr>
          <p:grpSp>
            <p:nvGrpSpPr>
              <p:cNvPr id="54" name="Group 53">
                <a:extLst>
                  <a:ext uri="{FF2B5EF4-FFF2-40B4-BE49-F238E27FC236}">
                    <a16:creationId xmlns:a16="http://schemas.microsoft.com/office/drawing/2014/main" id="{455E35F5-68D9-6F26-7AA9-6447DF92CF64}"/>
                  </a:ext>
                </a:extLst>
              </p:cNvPr>
              <p:cNvGrpSpPr/>
              <p:nvPr/>
            </p:nvGrpSpPr>
            <p:grpSpPr>
              <a:xfrm>
                <a:off x="4396985" y="1728221"/>
                <a:ext cx="7516556" cy="4504117"/>
                <a:chOff x="2568036" y="1052737"/>
                <a:chExt cx="7185260" cy="4017717"/>
              </a:xfrm>
            </p:grpSpPr>
            <p:grpSp>
              <p:nvGrpSpPr>
                <p:cNvPr id="56" name="Group 55">
                  <a:extLst>
                    <a:ext uri="{FF2B5EF4-FFF2-40B4-BE49-F238E27FC236}">
                      <a16:creationId xmlns:a16="http://schemas.microsoft.com/office/drawing/2014/main" id="{3CDD7D52-2B2D-37D6-1D0A-AD8D81536BC9}"/>
                    </a:ext>
                  </a:extLst>
                </p:cNvPr>
                <p:cNvGrpSpPr/>
                <p:nvPr/>
              </p:nvGrpSpPr>
              <p:grpSpPr>
                <a:xfrm>
                  <a:off x="2568036" y="1052737"/>
                  <a:ext cx="7065542" cy="4017717"/>
                  <a:chOff x="2752725" y="1180176"/>
                  <a:chExt cx="6686635" cy="3802246"/>
                </a:xfrm>
              </p:grpSpPr>
              <p:sp>
                <p:nvSpPr>
                  <p:cNvPr id="70" name="Freeform 4">
                    <a:extLst>
                      <a:ext uri="{FF2B5EF4-FFF2-40B4-BE49-F238E27FC236}">
                        <a16:creationId xmlns:a16="http://schemas.microsoft.com/office/drawing/2014/main" id="{FD7B3B5D-4891-6914-CC41-8C700C992A6D}"/>
                      </a:ext>
                    </a:extLst>
                  </p:cNvPr>
                  <p:cNvSpPr/>
                  <p:nvPr/>
                </p:nvSpPr>
                <p:spPr>
                  <a:xfrm>
                    <a:off x="6110316" y="1199807"/>
                    <a:ext cx="476288" cy="952661"/>
                  </a:xfrm>
                  <a:custGeom>
                    <a:avLst/>
                    <a:gdLst>
                      <a:gd name="connsiteX0" fmla="*/ 0 w 476288"/>
                      <a:gd name="connsiteY0" fmla="*/ 952662 h 952661"/>
                      <a:gd name="connsiteX1" fmla="*/ 0 w 476288"/>
                      <a:gd name="connsiteY1" fmla="*/ 690000 h 952661"/>
                      <a:gd name="connsiteX2" fmla="*/ 213627 w 476288"/>
                      <a:gd name="connsiteY2" fmla="*/ 476374 h 952661"/>
                      <a:gd name="connsiteX3" fmla="*/ 0 w 476288"/>
                      <a:gd name="connsiteY3" fmla="*/ 262661 h 952661"/>
                      <a:gd name="connsiteX4" fmla="*/ 0 w 476288"/>
                      <a:gd name="connsiteY4" fmla="*/ 0 h 952661"/>
                      <a:gd name="connsiteX5" fmla="*/ 476288 w 476288"/>
                      <a:gd name="connsiteY5" fmla="*/ 476288 h 952661"/>
                      <a:gd name="connsiteX6" fmla="*/ 0 w 476288"/>
                      <a:gd name="connsiteY6" fmla="*/ 952662 h 95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88" h="952661">
                        <a:moveTo>
                          <a:pt x="0" y="952662"/>
                        </a:moveTo>
                        <a:lnTo>
                          <a:pt x="0" y="690000"/>
                        </a:lnTo>
                        <a:cubicBezTo>
                          <a:pt x="118043" y="690000"/>
                          <a:pt x="213627" y="594331"/>
                          <a:pt x="213627" y="476374"/>
                        </a:cubicBezTo>
                        <a:cubicBezTo>
                          <a:pt x="213627" y="358330"/>
                          <a:pt x="117957" y="262661"/>
                          <a:pt x="0" y="262661"/>
                        </a:cubicBezTo>
                        <a:lnTo>
                          <a:pt x="0" y="0"/>
                        </a:lnTo>
                        <a:cubicBezTo>
                          <a:pt x="263090" y="0"/>
                          <a:pt x="476288" y="213284"/>
                          <a:pt x="476288" y="476288"/>
                        </a:cubicBezTo>
                        <a:cubicBezTo>
                          <a:pt x="476288" y="739378"/>
                          <a:pt x="263090" y="952662"/>
                          <a:pt x="0" y="952662"/>
                        </a:cubicBezTo>
                        <a:close/>
                      </a:path>
                    </a:pathLst>
                  </a:custGeom>
                  <a:solidFill>
                    <a:srgbClr val="C00000"/>
                  </a:solidFill>
                  <a:ln w="8572" cap="flat">
                    <a:noFill/>
                    <a:prstDash val="solid"/>
                    <a:miter/>
                  </a:ln>
                </p:spPr>
                <p:txBody>
                  <a:bodyPr rtlCol="0" anchor="ctr"/>
                  <a:lstStyle/>
                  <a:p>
                    <a:endParaRPr lang="en-US"/>
                  </a:p>
                </p:txBody>
              </p:sp>
              <p:sp>
                <p:nvSpPr>
                  <p:cNvPr id="71" name="Freeform 6">
                    <a:extLst>
                      <a:ext uri="{FF2B5EF4-FFF2-40B4-BE49-F238E27FC236}">
                        <a16:creationId xmlns:a16="http://schemas.microsoft.com/office/drawing/2014/main" id="{90B7E197-2968-4DE2-D3EF-F09FDC41A9E5}"/>
                      </a:ext>
                    </a:extLst>
                  </p:cNvPr>
                  <p:cNvSpPr/>
                  <p:nvPr/>
                </p:nvSpPr>
                <p:spPr>
                  <a:xfrm>
                    <a:off x="5633685" y="3971381"/>
                    <a:ext cx="476288" cy="952662"/>
                  </a:xfrm>
                  <a:custGeom>
                    <a:avLst/>
                    <a:gdLst>
                      <a:gd name="connsiteX0" fmla="*/ 476288 w 476288"/>
                      <a:gd name="connsiteY0" fmla="*/ 952662 h 952662"/>
                      <a:gd name="connsiteX1" fmla="*/ 476288 w 476288"/>
                      <a:gd name="connsiteY1" fmla="*/ 690001 h 952662"/>
                      <a:gd name="connsiteX2" fmla="*/ 262661 w 476288"/>
                      <a:gd name="connsiteY2" fmla="*/ 476374 h 952662"/>
                      <a:gd name="connsiteX3" fmla="*/ 476288 w 476288"/>
                      <a:gd name="connsiteY3" fmla="*/ 262662 h 952662"/>
                      <a:gd name="connsiteX4" fmla="*/ 476288 w 476288"/>
                      <a:gd name="connsiteY4" fmla="*/ 0 h 952662"/>
                      <a:gd name="connsiteX5" fmla="*/ 0 w 476288"/>
                      <a:gd name="connsiteY5" fmla="*/ 476288 h 952662"/>
                      <a:gd name="connsiteX6" fmla="*/ 476288 w 476288"/>
                      <a:gd name="connsiteY6" fmla="*/ 952662 h 95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88" h="952662">
                        <a:moveTo>
                          <a:pt x="476288" y="952662"/>
                        </a:moveTo>
                        <a:lnTo>
                          <a:pt x="476288" y="690001"/>
                        </a:lnTo>
                        <a:cubicBezTo>
                          <a:pt x="358245" y="690001"/>
                          <a:pt x="262661" y="594331"/>
                          <a:pt x="262661" y="476374"/>
                        </a:cubicBezTo>
                        <a:cubicBezTo>
                          <a:pt x="262661" y="358331"/>
                          <a:pt x="358330" y="262662"/>
                          <a:pt x="476288" y="262662"/>
                        </a:cubicBezTo>
                        <a:lnTo>
                          <a:pt x="476288" y="0"/>
                        </a:lnTo>
                        <a:cubicBezTo>
                          <a:pt x="213198" y="0"/>
                          <a:pt x="0" y="213284"/>
                          <a:pt x="0" y="476288"/>
                        </a:cubicBezTo>
                        <a:cubicBezTo>
                          <a:pt x="-86" y="739464"/>
                          <a:pt x="213198" y="952662"/>
                          <a:pt x="476288" y="952662"/>
                        </a:cubicBezTo>
                        <a:close/>
                      </a:path>
                    </a:pathLst>
                  </a:custGeom>
                  <a:solidFill>
                    <a:srgbClr val="7030A0"/>
                  </a:solidFill>
                  <a:ln w="8572" cap="flat">
                    <a:noFill/>
                    <a:prstDash val="solid"/>
                    <a:miter/>
                  </a:ln>
                </p:spPr>
                <p:txBody>
                  <a:bodyPr rtlCol="0" anchor="ctr"/>
                  <a:lstStyle/>
                  <a:p>
                    <a:endParaRPr lang="en-US"/>
                  </a:p>
                </p:txBody>
              </p:sp>
              <p:sp>
                <p:nvSpPr>
                  <p:cNvPr id="72" name="Freeform 7">
                    <a:extLst>
                      <a:ext uri="{FF2B5EF4-FFF2-40B4-BE49-F238E27FC236}">
                        <a16:creationId xmlns:a16="http://schemas.microsoft.com/office/drawing/2014/main" id="{94EADEEF-E71A-B5EB-77A5-99CE615E6E6A}"/>
                      </a:ext>
                    </a:extLst>
                  </p:cNvPr>
                  <p:cNvSpPr/>
                  <p:nvPr/>
                </p:nvSpPr>
                <p:spPr>
                  <a:xfrm>
                    <a:off x="5633342" y="3277438"/>
                    <a:ext cx="476288" cy="952576"/>
                  </a:xfrm>
                  <a:custGeom>
                    <a:avLst/>
                    <a:gdLst>
                      <a:gd name="connsiteX0" fmla="*/ 476288 w 476288"/>
                      <a:gd name="connsiteY0" fmla="*/ 0 h 952576"/>
                      <a:gd name="connsiteX1" fmla="*/ 476288 w 476288"/>
                      <a:gd name="connsiteY1" fmla="*/ 262661 h 952576"/>
                      <a:gd name="connsiteX2" fmla="*/ 262576 w 476288"/>
                      <a:gd name="connsiteY2" fmla="*/ 476288 h 952576"/>
                      <a:gd name="connsiteX3" fmla="*/ 476288 w 476288"/>
                      <a:gd name="connsiteY3" fmla="*/ 689915 h 952576"/>
                      <a:gd name="connsiteX4" fmla="*/ 476288 w 476288"/>
                      <a:gd name="connsiteY4" fmla="*/ 952576 h 952576"/>
                      <a:gd name="connsiteX5" fmla="*/ 0 w 476288"/>
                      <a:gd name="connsiteY5" fmla="*/ 476288 h 952576"/>
                      <a:gd name="connsiteX6" fmla="*/ 476288 w 476288"/>
                      <a:gd name="connsiteY6" fmla="*/ 0 h 95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88" h="952576">
                        <a:moveTo>
                          <a:pt x="476288" y="0"/>
                        </a:moveTo>
                        <a:lnTo>
                          <a:pt x="476288" y="262661"/>
                        </a:lnTo>
                        <a:cubicBezTo>
                          <a:pt x="358330" y="262661"/>
                          <a:pt x="262576" y="358330"/>
                          <a:pt x="262576" y="476288"/>
                        </a:cubicBezTo>
                        <a:cubicBezTo>
                          <a:pt x="262576" y="594331"/>
                          <a:pt x="358245" y="689915"/>
                          <a:pt x="476288" y="689915"/>
                        </a:cubicBezTo>
                        <a:lnTo>
                          <a:pt x="476288" y="952576"/>
                        </a:lnTo>
                        <a:cubicBezTo>
                          <a:pt x="213198" y="952576"/>
                          <a:pt x="0" y="739292"/>
                          <a:pt x="0" y="476288"/>
                        </a:cubicBezTo>
                        <a:cubicBezTo>
                          <a:pt x="-86" y="213284"/>
                          <a:pt x="213198" y="0"/>
                          <a:pt x="476288" y="0"/>
                        </a:cubicBezTo>
                        <a:close/>
                      </a:path>
                    </a:pathLst>
                  </a:custGeom>
                  <a:solidFill>
                    <a:srgbClr val="FFC000"/>
                  </a:solidFill>
                  <a:ln w="8572" cap="flat">
                    <a:noFill/>
                    <a:prstDash val="solid"/>
                    <a:miter/>
                  </a:ln>
                </p:spPr>
                <p:txBody>
                  <a:bodyPr rtlCol="0" anchor="ctr"/>
                  <a:lstStyle/>
                  <a:p>
                    <a:endParaRPr lang="en-US"/>
                  </a:p>
                </p:txBody>
              </p:sp>
              <p:sp>
                <p:nvSpPr>
                  <p:cNvPr id="73" name="Freeform 8">
                    <a:extLst>
                      <a:ext uri="{FF2B5EF4-FFF2-40B4-BE49-F238E27FC236}">
                        <a16:creationId xmlns:a16="http://schemas.microsoft.com/office/drawing/2014/main" id="{94AA501F-E706-34E9-6916-94190FE012EB}"/>
                      </a:ext>
                    </a:extLst>
                  </p:cNvPr>
                  <p:cNvSpPr/>
                  <p:nvPr/>
                </p:nvSpPr>
                <p:spPr>
                  <a:xfrm>
                    <a:off x="5633685" y="2588037"/>
                    <a:ext cx="476288" cy="952576"/>
                  </a:xfrm>
                  <a:custGeom>
                    <a:avLst/>
                    <a:gdLst>
                      <a:gd name="connsiteX0" fmla="*/ 476288 w 476288"/>
                      <a:gd name="connsiteY0" fmla="*/ 952576 h 952576"/>
                      <a:gd name="connsiteX1" fmla="*/ 476288 w 476288"/>
                      <a:gd name="connsiteY1" fmla="*/ 689915 h 952576"/>
                      <a:gd name="connsiteX2" fmla="*/ 262661 w 476288"/>
                      <a:gd name="connsiteY2" fmla="*/ 476288 h 952576"/>
                      <a:gd name="connsiteX3" fmla="*/ 476288 w 476288"/>
                      <a:gd name="connsiteY3" fmla="*/ 262576 h 952576"/>
                      <a:gd name="connsiteX4" fmla="*/ 476288 w 476288"/>
                      <a:gd name="connsiteY4" fmla="*/ 0 h 952576"/>
                      <a:gd name="connsiteX5" fmla="*/ 0 w 476288"/>
                      <a:gd name="connsiteY5" fmla="*/ 476288 h 952576"/>
                      <a:gd name="connsiteX6" fmla="*/ 476288 w 476288"/>
                      <a:gd name="connsiteY6" fmla="*/ 952576 h 95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88" h="952576">
                        <a:moveTo>
                          <a:pt x="476288" y="952576"/>
                        </a:moveTo>
                        <a:lnTo>
                          <a:pt x="476288" y="689915"/>
                        </a:lnTo>
                        <a:cubicBezTo>
                          <a:pt x="358245" y="689915"/>
                          <a:pt x="262661" y="594246"/>
                          <a:pt x="262661" y="476288"/>
                        </a:cubicBezTo>
                        <a:cubicBezTo>
                          <a:pt x="262661" y="358245"/>
                          <a:pt x="358330" y="262576"/>
                          <a:pt x="476288" y="262576"/>
                        </a:cubicBezTo>
                        <a:lnTo>
                          <a:pt x="476288" y="0"/>
                        </a:lnTo>
                        <a:cubicBezTo>
                          <a:pt x="213198" y="0"/>
                          <a:pt x="0" y="213284"/>
                          <a:pt x="0" y="476288"/>
                        </a:cubicBezTo>
                        <a:cubicBezTo>
                          <a:pt x="-86" y="739378"/>
                          <a:pt x="213198" y="952576"/>
                          <a:pt x="476288" y="952576"/>
                        </a:cubicBezTo>
                        <a:close/>
                      </a:path>
                    </a:pathLst>
                  </a:custGeom>
                  <a:solidFill>
                    <a:srgbClr val="002060"/>
                  </a:solidFill>
                  <a:ln w="8572" cap="flat">
                    <a:noFill/>
                    <a:prstDash val="solid"/>
                    <a:miter/>
                  </a:ln>
                </p:spPr>
                <p:txBody>
                  <a:bodyPr rtlCol="0" anchor="ctr"/>
                  <a:lstStyle/>
                  <a:p>
                    <a:endParaRPr lang="en-US"/>
                  </a:p>
                </p:txBody>
              </p:sp>
              <p:sp>
                <p:nvSpPr>
                  <p:cNvPr id="74" name="Freeform 9">
                    <a:extLst>
                      <a:ext uri="{FF2B5EF4-FFF2-40B4-BE49-F238E27FC236}">
                        <a16:creationId xmlns:a16="http://schemas.microsoft.com/office/drawing/2014/main" id="{7C00D09E-2C75-1B71-843D-F4D1C36C5E6E}"/>
                      </a:ext>
                    </a:extLst>
                  </p:cNvPr>
                  <p:cNvSpPr/>
                  <p:nvPr/>
                </p:nvSpPr>
                <p:spPr>
                  <a:xfrm>
                    <a:off x="5633342" y="1889293"/>
                    <a:ext cx="476288" cy="952576"/>
                  </a:xfrm>
                  <a:custGeom>
                    <a:avLst/>
                    <a:gdLst>
                      <a:gd name="connsiteX0" fmla="*/ 476288 w 476288"/>
                      <a:gd name="connsiteY0" fmla="*/ 0 h 952576"/>
                      <a:gd name="connsiteX1" fmla="*/ 476288 w 476288"/>
                      <a:gd name="connsiteY1" fmla="*/ 262661 h 952576"/>
                      <a:gd name="connsiteX2" fmla="*/ 262576 w 476288"/>
                      <a:gd name="connsiteY2" fmla="*/ 476288 h 952576"/>
                      <a:gd name="connsiteX3" fmla="*/ 476288 w 476288"/>
                      <a:gd name="connsiteY3" fmla="*/ 689915 h 952576"/>
                      <a:gd name="connsiteX4" fmla="*/ 476288 w 476288"/>
                      <a:gd name="connsiteY4" fmla="*/ 952576 h 952576"/>
                      <a:gd name="connsiteX5" fmla="*/ 0 w 476288"/>
                      <a:gd name="connsiteY5" fmla="*/ 476288 h 952576"/>
                      <a:gd name="connsiteX6" fmla="*/ 476288 w 476288"/>
                      <a:gd name="connsiteY6" fmla="*/ 0 h 95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88" h="952576">
                        <a:moveTo>
                          <a:pt x="476288" y="0"/>
                        </a:moveTo>
                        <a:lnTo>
                          <a:pt x="476288" y="262661"/>
                        </a:lnTo>
                        <a:cubicBezTo>
                          <a:pt x="358330" y="262661"/>
                          <a:pt x="262576" y="358331"/>
                          <a:pt x="262576" y="476288"/>
                        </a:cubicBezTo>
                        <a:cubicBezTo>
                          <a:pt x="262576" y="594331"/>
                          <a:pt x="358245" y="689915"/>
                          <a:pt x="476288" y="689915"/>
                        </a:cubicBezTo>
                        <a:lnTo>
                          <a:pt x="476288" y="952576"/>
                        </a:lnTo>
                        <a:cubicBezTo>
                          <a:pt x="213198" y="952576"/>
                          <a:pt x="0" y="739292"/>
                          <a:pt x="0" y="476288"/>
                        </a:cubicBezTo>
                        <a:cubicBezTo>
                          <a:pt x="-86" y="213284"/>
                          <a:pt x="213198" y="0"/>
                          <a:pt x="476288" y="0"/>
                        </a:cubicBezTo>
                        <a:close/>
                      </a:path>
                    </a:pathLst>
                  </a:custGeom>
                  <a:solidFill>
                    <a:srgbClr val="00B050"/>
                  </a:solidFill>
                  <a:ln w="8572" cap="flat">
                    <a:noFill/>
                    <a:prstDash val="solid"/>
                    <a:miter/>
                  </a:ln>
                </p:spPr>
                <p:txBody>
                  <a:bodyPr rtlCol="0" anchor="ctr"/>
                  <a:lstStyle/>
                  <a:p>
                    <a:endParaRPr lang="en-US"/>
                  </a:p>
                </p:txBody>
              </p:sp>
              <p:sp>
                <p:nvSpPr>
                  <p:cNvPr id="75" name="Freeform 10">
                    <a:extLst>
                      <a:ext uri="{FF2B5EF4-FFF2-40B4-BE49-F238E27FC236}">
                        <a16:creationId xmlns:a16="http://schemas.microsoft.com/office/drawing/2014/main" id="{AB24953E-10CF-84F9-FCAC-4047929B4920}"/>
                      </a:ext>
                    </a:extLst>
                  </p:cNvPr>
                  <p:cNvSpPr/>
                  <p:nvPr/>
                </p:nvSpPr>
                <p:spPr>
                  <a:xfrm>
                    <a:off x="5633685" y="1199807"/>
                    <a:ext cx="477745" cy="952661"/>
                  </a:xfrm>
                  <a:custGeom>
                    <a:avLst/>
                    <a:gdLst>
                      <a:gd name="connsiteX0" fmla="*/ 476288 w 477745"/>
                      <a:gd name="connsiteY0" fmla="*/ 952662 h 952661"/>
                      <a:gd name="connsiteX1" fmla="*/ 476288 w 477745"/>
                      <a:gd name="connsiteY1" fmla="*/ 690000 h 952661"/>
                      <a:gd name="connsiteX2" fmla="*/ 262661 w 477745"/>
                      <a:gd name="connsiteY2" fmla="*/ 476374 h 952661"/>
                      <a:gd name="connsiteX3" fmla="*/ 477745 w 477745"/>
                      <a:gd name="connsiteY3" fmla="*/ 262661 h 952661"/>
                      <a:gd name="connsiteX4" fmla="*/ 477745 w 477745"/>
                      <a:gd name="connsiteY4" fmla="*/ 0 h 952661"/>
                      <a:gd name="connsiteX5" fmla="*/ 0 w 477745"/>
                      <a:gd name="connsiteY5" fmla="*/ 476288 h 952661"/>
                      <a:gd name="connsiteX6" fmla="*/ 476288 w 477745"/>
                      <a:gd name="connsiteY6" fmla="*/ 952662 h 95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745" h="952661">
                        <a:moveTo>
                          <a:pt x="476288" y="952662"/>
                        </a:moveTo>
                        <a:lnTo>
                          <a:pt x="476288" y="690000"/>
                        </a:lnTo>
                        <a:cubicBezTo>
                          <a:pt x="358245" y="690000"/>
                          <a:pt x="262661" y="594331"/>
                          <a:pt x="262661" y="476374"/>
                        </a:cubicBezTo>
                        <a:cubicBezTo>
                          <a:pt x="262661" y="358330"/>
                          <a:pt x="359788" y="262661"/>
                          <a:pt x="477745" y="262661"/>
                        </a:cubicBezTo>
                        <a:lnTo>
                          <a:pt x="477745" y="0"/>
                        </a:lnTo>
                        <a:cubicBezTo>
                          <a:pt x="214655" y="0"/>
                          <a:pt x="0" y="213284"/>
                          <a:pt x="0" y="476288"/>
                        </a:cubicBezTo>
                        <a:cubicBezTo>
                          <a:pt x="-86" y="739378"/>
                          <a:pt x="213198" y="952662"/>
                          <a:pt x="476288" y="952662"/>
                        </a:cubicBezTo>
                        <a:close/>
                      </a:path>
                    </a:pathLst>
                  </a:custGeom>
                  <a:solidFill>
                    <a:srgbClr val="C00000"/>
                  </a:solidFill>
                  <a:ln w="8572" cap="flat">
                    <a:noFill/>
                    <a:prstDash val="solid"/>
                    <a:miter/>
                  </a:ln>
                </p:spPr>
                <p:txBody>
                  <a:bodyPr rtlCol="0" anchor="ctr"/>
                  <a:lstStyle/>
                  <a:p>
                    <a:endParaRPr lang="en-US"/>
                  </a:p>
                </p:txBody>
              </p:sp>
              <p:sp>
                <p:nvSpPr>
                  <p:cNvPr id="76" name="Freeform 11">
                    <a:extLst>
                      <a:ext uri="{FF2B5EF4-FFF2-40B4-BE49-F238E27FC236}">
                        <a16:creationId xmlns:a16="http://schemas.microsoft.com/office/drawing/2014/main" id="{9CAFD06C-714B-E750-0C7E-BBE231E7D96E}"/>
                      </a:ext>
                    </a:extLst>
                  </p:cNvPr>
                  <p:cNvSpPr/>
                  <p:nvPr/>
                </p:nvSpPr>
                <p:spPr>
                  <a:xfrm>
                    <a:off x="6109973" y="1889293"/>
                    <a:ext cx="476288" cy="952576"/>
                  </a:xfrm>
                  <a:custGeom>
                    <a:avLst/>
                    <a:gdLst>
                      <a:gd name="connsiteX0" fmla="*/ 0 w 476288"/>
                      <a:gd name="connsiteY0" fmla="*/ 0 h 952576"/>
                      <a:gd name="connsiteX1" fmla="*/ 0 w 476288"/>
                      <a:gd name="connsiteY1" fmla="*/ 262661 h 952576"/>
                      <a:gd name="connsiteX2" fmla="*/ 213627 w 476288"/>
                      <a:gd name="connsiteY2" fmla="*/ 476288 h 952576"/>
                      <a:gd name="connsiteX3" fmla="*/ 0 w 476288"/>
                      <a:gd name="connsiteY3" fmla="*/ 689915 h 952576"/>
                      <a:gd name="connsiteX4" fmla="*/ 0 w 476288"/>
                      <a:gd name="connsiteY4" fmla="*/ 952576 h 952576"/>
                      <a:gd name="connsiteX5" fmla="*/ 476288 w 476288"/>
                      <a:gd name="connsiteY5" fmla="*/ 476288 h 952576"/>
                      <a:gd name="connsiteX6" fmla="*/ 0 w 476288"/>
                      <a:gd name="connsiteY6" fmla="*/ 0 h 95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88" h="952576">
                        <a:moveTo>
                          <a:pt x="0" y="0"/>
                        </a:moveTo>
                        <a:lnTo>
                          <a:pt x="0" y="262661"/>
                        </a:lnTo>
                        <a:cubicBezTo>
                          <a:pt x="117958" y="262661"/>
                          <a:pt x="213627" y="358331"/>
                          <a:pt x="213627" y="476288"/>
                        </a:cubicBezTo>
                        <a:cubicBezTo>
                          <a:pt x="213627" y="594331"/>
                          <a:pt x="117958" y="689915"/>
                          <a:pt x="0" y="689915"/>
                        </a:cubicBezTo>
                        <a:lnTo>
                          <a:pt x="0" y="952576"/>
                        </a:lnTo>
                        <a:cubicBezTo>
                          <a:pt x="263090" y="952576"/>
                          <a:pt x="476288" y="739292"/>
                          <a:pt x="476288" y="476288"/>
                        </a:cubicBezTo>
                        <a:cubicBezTo>
                          <a:pt x="476288" y="213284"/>
                          <a:pt x="263090" y="0"/>
                          <a:pt x="0" y="0"/>
                        </a:cubicBezTo>
                        <a:close/>
                      </a:path>
                    </a:pathLst>
                  </a:custGeom>
                  <a:solidFill>
                    <a:srgbClr val="00B050"/>
                  </a:solidFill>
                  <a:ln w="8572" cap="flat">
                    <a:noFill/>
                    <a:prstDash val="solid"/>
                    <a:miter/>
                  </a:ln>
                </p:spPr>
                <p:txBody>
                  <a:bodyPr rtlCol="0" anchor="ctr"/>
                  <a:lstStyle/>
                  <a:p>
                    <a:endParaRPr lang="en-US"/>
                  </a:p>
                </p:txBody>
              </p:sp>
              <p:sp>
                <p:nvSpPr>
                  <p:cNvPr id="77" name="Freeform 12">
                    <a:extLst>
                      <a:ext uri="{FF2B5EF4-FFF2-40B4-BE49-F238E27FC236}">
                        <a16:creationId xmlns:a16="http://schemas.microsoft.com/office/drawing/2014/main" id="{364E5468-4E23-B9E1-6E66-21647F6E939F}"/>
                      </a:ext>
                    </a:extLst>
                  </p:cNvPr>
                  <p:cNvSpPr/>
                  <p:nvPr/>
                </p:nvSpPr>
                <p:spPr>
                  <a:xfrm>
                    <a:off x="6110316" y="2588037"/>
                    <a:ext cx="476288" cy="952576"/>
                  </a:xfrm>
                  <a:custGeom>
                    <a:avLst/>
                    <a:gdLst>
                      <a:gd name="connsiteX0" fmla="*/ 0 w 476288"/>
                      <a:gd name="connsiteY0" fmla="*/ 952576 h 952576"/>
                      <a:gd name="connsiteX1" fmla="*/ 0 w 476288"/>
                      <a:gd name="connsiteY1" fmla="*/ 689915 h 952576"/>
                      <a:gd name="connsiteX2" fmla="*/ 213627 w 476288"/>
                      <a:gd name="connsiteY2" fmla="*/ 476288 h 952576"/>
                      <a:gd name="connsiteX3" fmla="*/ 0 w 476288"/>
                      <a:gd name="connsiteY3" fmla="*/ 262576 h 952576"/>
                      <a:gd name="connsiteX4" fmla="*/ 0 w 476288"/>
                      <a:gd name="connsiteY4" fmla="*/ 0 h 952576"/>
                      <a:gd name="connsiteX5" fmla="*/ 476288 w 476288"/>
                      <a:gd name="connsiteY5" fmla="*/ 476288 h 952576"/>
                      <a:gd name="connsiteX6" fmla="*/ 0 w 476288"/>
                      <a:gd name="connsiteY6" fmla="*/ 952576 h 95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88" h="952576">
                        <a:moveTo>
                          <a:pt x="0" y="952576"/>
                        </a:moveTo>
                        <a:lnTo>
                          <a:pt x="0" y="689915"/>
                        </a:lnTo>
                        <a:cubicBezTo>
                          <a:pt x="118043" y="689915"/>
                          <a:pt x="213627" y="594246"/>
                          <a:pt x="213627" y="476288"/>
                        </a:cubicBezTo>
                        <a:cubicBezTo>
                          <a:pt x="213627" y="358245"/>
                          <a:pt x="117957" y="262576"/>
                          <a:pt x="0" y="262576"/>
                        </a:cubicBezTo>
                        <a:lnTo>
                          <a:pt x="0" y="0"/>
                        </a:lnTo>
                        <a:cubicBezTo>
                          <a:pt x="263090" y="0"/>
                          <a:pt x="476288" y="213284"/>
                          <a:pt x="476288" y="476288"/>
                        </a:cubicBezTo>
                        <a:cubicBezTo>
                          <a:pt x="476288" y="739378"/>
                          <a:pt x="263090" y="952576"/>
                          <a:pt x="0" y="952576"/>
                        </a:cubicBezTo>
                        <a:close/>
                      </a:path>
                    </a:pathLst>
                  </a:custGeom>
                  <a:solidFill>
                    <a:srgbClr val="002060"/>
                  </a:solidFill>
                  <a:ln w="8572" cap="flat">
                    <a:noFill/>
                    <a:prstDash val="solid"/>
                    <a:miter/>
                  </a:ln>
                </p:spPr>
                <p:txBody>
                  <a:bodyPr rtlCol="0" anchor="ctr"/>
                  <a:lstStyle/>
                  <a:p>
                    <a:endParaRPr lang="en-US"/>
                  </a:p>
                </p:txBody>
              </p:sp>
              <p:sp>
                <p:nvSpPr>
                  <p:cNvPr id="78" name="Freeform 13">
                    <a:extLst>
                      <a:ext uri="{FF2B5EF4-FFF2-40B4-BE49-F238E27FC236}">
                        <a16:creationId xmlns:a16="http://schemas.microsoft.com/office/drawing/2014/main" id="{B9DBD451-3D3B-68D4-A3C9-072F77E9FC04}"/>
                      </a:ext>
                    </a:extLst>
                  </p:cNvPr>
                  <p:cNvSpPr/>
                  <p:nvPr/>
                </p:nvSpPr>
                <p:spPr>
                  <a:xfrm>
                    <a:off x="6109973" y="3277438"/>
                    <a:ext cx="476288" cy="952576"/>
                  </a:xfrm>
                  <a:custGeom>
                    <a:avLst/>
                    <a:gdLst>
                      <a:gd name="connsiteX0" fmla="*/ 0 w 476288"/>
                      <a:gd name="connsiteY0" fmla="*/ 0 h 952576"/>
                      <a:gd name="connsiteX1" fmla="*/ 0 w 476288"/>
                      <a:gd name="connsiteY1" fmla="*/ 262661 h 952576"/>
                      <a:gd name="connsiteX2" fmla="*/ 213627 w 476288"/>
                      <a:gd name="connsiteY2" fmla="*/ 476288 h 952576"/>
                      <a:gd name="connsiteX3" fmla="*/ 0 w 476288"/>
                      <a:gd name="connsiteY3" fmla="*/ 689915 h 952576"/>
                      <a:gd name="connsiteX4" fmla="*/ 0 w 476288"/>
                      <a:gd name="connsiteY4" fmla="*/ 952576 h 952576"/>
                      <a:gd name="connsiteX5" fmla="*/ 476288 w 476288"/>
                      <a:gd name="connsiteY5" fmla="*/ 476288 h 952576"/>
                      <a:gd name="connsiteX6" fmla="*/ 0 w 476288"/>
                      <a:gd name="connsiteY6" fmla="*/ 0 h 95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88" h="952576">
                        <a:moveTo>
                          <a:pt x="0" y="0"/>
                        </a:moveTo>
                        <a:lnTo>
                          <a:pt x="0" y="262661"/>
                        </a:lnTo>
                        <a:cubicBezTo>
                          <a:pt x="117958" y="262661"/>
                          <a:pt x="213627" y="358330"/>
                          <a:pt x="213627" y="476288"/>
                        </a:cubicBezTo>
                        <a:cubicBezTo>
                          <a:pt x="213627" y="594331"/>
                          <a:pt x="117958" y="689915"/>
                          <a:pt x="0" y="689915"/>
                        </a:cubicBezTo>
                        <a:lnTo>
                          <a:pt x="0" y="952576"/>
                        </a:lnTo>
                        <a:cubicBezTo>
                          <a:pt x="263090" y="952576"/>
                          <a:pt x="476288" y="739292"/>
                          <a:pt x="476288" y="476288"/>
                        </a:cubicBezTo>
                        <a:cubicBezTo>
                          <a:pt x="476288" y="213284"/>
                          <a:pt x="263090" y="0"/>
                          <a:pt x="0" y="0"/>
                        </a:cubicBezTo>
                        <a:close/>
                      </a:path>
                    </a:pathLst>
                  </a:custGeom>
                  <a:solidFill>
                    <a:srgbClr val="FFC000"/>
                  </a:solidFill>
                  <a:ln w="8572" cap="flat">
                    <a:noFill/>
                    <a:prstDash val="solid"/>
                    <a:miter/>
                  </a:ln>
                </p:spPr>
                <p:txBody>
                  <a:bodyPr rtlCol="0" anchor="ctr"/>
                  <a:lstStyle/>
                  <a:p>
                    <a:endParaRPr lang="en-US"/>
                  </a:p>
                </p:txBody>
              </p:sp>
              <p:sp>
                <p:nvSpPr>
                  <p:cNvPr id="79" name="Freeform 14">
                    <a:extLst>
                      <a:ext uri="{FF2B5EF4-FFF2-40B4-BE49-F238E27FC236}">
                        <a16:creationId xmlns:a16="http://schemas.microsoft.com/office/drawing/2014/main" id="{EFB3F98D-D90C-0DF5-4477-8671BC3F828E}"/>
                      </a:ext>
                    </a:extLst>
                  </p:cNvPr>
                  <p:cNvSpPr/>
                  <p:nvPr/>
                </p:nvSpPr>
                <p:spPr>
                  <a:xfrm>
                    <a:off x="6110316" y="3971381"/>
                    <a:ext cx="476288" cy="952662"/>
                  </a:xfrm>
                  <a:custGeom>
                    <a:avLst/>
                    <a:gdLst>
                      <a:gd name="connsiteX0" fmla="*/ 0 w 476288"/>
                      <a:gd name="connsiteY0" fmla="*/ 952662 h 952662"/>
                      <a:gd name="connsiteX1" fmla="*/ 0 w 476288"/>
                      <a:gd name="connsiteY1" fmla="*/ 690001 h 952662"/>
                      <a:gd name="connsiteX2" fmla="*/ 213627 w 476288"/>
                      <a:gd name="connsiteY2" fmla="*/ 476374 h 952662"/>
                      <a:gd name="connsiteX3" fmla="*/ 0 w 476288"/>
                      <a:gd name="connsiteY3" fmla="*/ 262662 h 952662"/>
                      <a:gd name="connsiteX4" fmla="*/ 0 w 476288"/>
                      <a:gd name="connsiteY4" fmla="*/ 0 h 952662"/>
                      <a:gd name="connsiteX5" fmla="*/ 476288 w 476288"/>
                      <a:gd name="connsiteY5" fmla="*/ 476288 h 952662"/>
                      <a:gd name="connsiteX6" fmla="*/ 0 w 476288"/>
                      <a:gd name="connsiteY6" fmla="*/ 952662 h 95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88" h="952662">
                        <a:moveTo>
                          <a:pt x="0" y="952662"/>
                        </a:moveTo>
                        <a:lnTo>
                          <a:pt x="0" y="690001"/>
                        </a:lnTo>
                        <a:cubicBezTo>
                          <a:pt x="118043" y="690001"/>
                          <a:pt x="213627" y="594331"/>
                          <a:pt x="213627" y="476374"/>
                        </a:cubicBezTo>
                        <a:cubicBezTo>
                          <a:pt x="213627" y="358331"/>
                          <a:pt x="117957" y="262662"/>
                          <a:pt x="0" y="262662"/>
                        </a:cubicBezTo>
                        <a:lnTo>
                          <a:pt x="0" y="0"/>
                        </a:lnTo>
                        <a:cubicBezTo>
                          <a:pt x="263090" y="0"/>
                          <a:pt x="476288" y="213284"/>
                          <a:pt x="476288" y="476288"/>
                        </a:cubicBezTo>
                        <a:cubicBezTo>
                          <a:pt x="476288" y="739464"/>
                          <a:pt x="263090" y="952662"/>
                          <a:pt x="0" y="952662"/>
                        </a:cubicBezTo>
                        <a:close/>
                      </a:path>
                    </a:pathLst>
                  </a:custGeom>
                  <a:solidFill>
                    <a:srgbClr val="7030A0"/>
                  </a:solidFill>
                  <a:ln w="8572" cap="flat">
                    <a:noFill/>
                    <a:prstDash val="solid"/>
                    <a:miter/>
                  </a:ln>
                </p:spPr>
                <p:txBody>
                  <a:bodyPr rtlCol="0" anchor="ctr"/>
                  <a:lstStyle/>
                  <a:p>
                    <a:endParaRPr lang="en-US"/>
                  </a:p>
                </p:txBody>
              </p:sp>
              <p:sp>
                <p:nvSpPr>
                  <p:cNvPr id="80" name="Freeform 16">
                    <a:extLst>
                      <a:ext uri="{FF2B5EF4-FFF2-40B4-BE49-F238E27FC236}">
                        <a16:creationId xmlns:a16="http://schemas.microsoft.com/office/drawing/2014/main" id="{A5DBCEF7-22F5-0892-7509-3525D1920527}"/>
                      </a:ext>
                    </a:extLst>
                  </p:cNvPr>
                  <p:cNvSpPr/>
                  <p:nvPr/>
                </p:nvSpPr>
                <p:spPr>
                  <a:xfrm>
                    <a:off x="6485962" y="1185490"/>
                    <a:ext cx="1171860" cy="975121"/>
                  </a:xfrm>
                  <a:custGeom>
                    <a:avLst/>
                    <a:gdLst>
                      <a:gd name="connsiteX0" fmla="*/ 487604 w 1171860"/>
                      <a:gd name="connsiteY0" fmla="*/ 975122 h 975121"/>
                      <a:gd name="connsiteX1" fmla="*/ 1171861 w 1171860"/>
                      <a:gd name="connsiteY1" fmla="*/ 975122 h 975121"/>
                      <a:gd name="connsiteX2" fmla="*/ 1171861 w 1171860"/>
                      <a:gd name="connsiteY2" fmla="*/ 0 h 975121"/>
                      <a:gd name="connsiteX3" fmla="*/ 487604 w 1171860"/>
                      <a:gd name="connsiteY3" fmla="*/ 0 h 975121"/>
                      <a:gd name="connsiteX4" fmla="*/ 0 w 1171860"/>
                      <a:gd name="connsiteY4" fmla="*/ 487604 h 975121"/>
                      <a:gd name="connsiteX5" fmla="*/ 0 w 1171860"/>
                      <a:gd name="connsiteY5" fmla="*/ 487604 h 975121"/>
                      <a:gd name="connsiteX6" fmla="*/ 487604 w 1171860"/>
                      <a:gd name="connsiteY6" fmla="*/ 975122 h 97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1860" h="975121">
                        <a:moveTo>
                          <a:pt x="487604" y="975122"/>
                        </a:moveTo>
                        <a:lnTo>
                          <a:pt x="1171861" y="975122"/>
                        </a:lnTo>
                        <a:lnTo>
                          <a:pt x="1171861" y="0"/>
                        </a:lnTo>
                        <a:lnTo>
                          <a:pt x="487604" y="0"/>
                        </a:lnTo>
                        <a:cubicBezTo>
                          <a:pt x="218342" y="0"/>
                          <a:pt x="0" y="218342"/>
                          <a:pt x="0" y="487604"/>
                        </a:cubicBezTo>
                        <a:lnTo>
                          <a:pt x="0" y="487604"/>
                        </a:lnTo>
                        <a:cubicBezTo>
                          <a:pt x="0" y="756866"/>
                          <a:pt x="218256" y="975122"/>
                          <a:pt x="487604" y="975122"/>
                        </a:cubicBezTo>
                        <a:close/>
                      </a:path>
                    </a:pathLst>
                  </a:custGeom>
                  <a:solidFill>
                    <a:srgbClr val="C00000"/>
                  </a:solidFill>
                  <a:ln w="8572" cap="flat">
                    <a:noFill/>
                    <a:prstDash val="solid"/>
                    <a:miter/>
                  </a:ln>
                </p:spPr>
                <p:txBody>
                  <a:bodyPr rtlCol="0" anchor="ctr"/>
                  <a:lstStyle/>
                  <a:p>
                    <a:endParaRPr lang="en-US"/>
                  </a:p>
                </p:txBody>
              </p:sp>
              <p:sp>
                <p:nvSpPr>
                  <p:cNvPr id="81" name="Freeform 17">
                    <a:extLst>
                      <a:ext uri="{FF2B5EF4-FFF2-40B4-BE49-F238E27FC236}">
                        <a16:creationId xmlns:a16="http://schemas.microsoft.com/office/drawing/2014/main" id="{F1903311-5F71-21C8-86F8-83F33C04C8EF}"/>
                      </a:ext>
                    </a:extLst>
                  </p:cNvPr>
                  <p:cNvSpPr/>
                  <p:nvPr/>
                </p:nvSpPr>
                <p:spPr>
                  <a:xfrm>
                    <a:off x="7250843" y="1180176"/>
                    <a:ext cx="2188517" cy="987894"/>
                  </a:xfrm>
                  <a:custGeom>
                    <a:avLst/>
                    <a:gdLst>
                      <a:gd name="connsiteX0" fmla="*/ 2188431 w 2188517"/>
                      <a:gd name="connsiteY0" fmla="*/ 487604 h 987894"/>
                      <a:gd name="connsiteX1" fmla="*/ 1700828 w 2188517"/>
                      <a:gd name="connsiteY1" fmla="*/ 0 h 987894"/>
                      <a:gd name="connsiteX2" fmla="*/ 416667 w 2188517"/>
                      <a:gd name="connsiteY2" fmla="*/ 0 h 987894"/>
                      <a:gd name="connsiteX3" fmla="*/ 299224 w 2188517"/>
                      <a:gd name="connsiteY3" fmla="*/ 45006 h 987894"/>
                      <a:gd name="connsiteX4" fmla="*/ 224986 w 2188517"/>
                      <a:gd name="connsiteY4" fmla="*/ 188424 h 987894"/>
                      <a:gd name="connsiteX5" fmla="*/ 224986 w 2188517"/>
                      <a:gd name="connsiteY5" fmla="*/ 577358 h 987894"/>
                      <a:gd name="connsiteX6" fmla="*/ 173551 w 2188517"/>
                      <a:gd name="connsiteY6" fmla="*/ 701573 h 987894"/>
                      <a:gd name="connsiteX7" fmla="*/ 28419 w 2188517"/>
                      <a:gd name="connsiteY7" fmla="*/ 823474 h 987894"/>
                      <a:gd name="connsiteX8" fmla="*/ 96570 w 2188517"/>
                      <a:gd name="connsiteY8" fmla="*/ 987895 h 987894"/>
                      <a:gd name="connsiteX9" fmla="*/ 1700913 w 2188517"/>
                      <a:gd name="connsiteY9" fmla="*/ 987895 h 987894"/>
                      <a:gd name="connsiteX10" fmla="*/ 2188517 w 2188517"/>
                      <a:gd name="connsiteY10" fmla="*/ 500291 h 987894"/>
                      <a:gd name="connsiteX11" fmla="*/ 2188517 w 2188517"/>
                      <a:gd name="connsiteY11" fmla="*/ 500291 h 987894"/>
                      <a:gd name="connsiteX12" fmla="*/ 2188517 w 2188517"/>
                      <a:gd name="connsiteY12" fmla="*/ 493947 h 987894"/>
                      <a:gd name="connsiteX13" fmla="*/ 2188431 w 2188517"/>
                      <a:gd name="connsiteY13" fmla="*/ 487604 h 987894"/>
                      <a:gd name="connsiteX14" fmla="*/ 2188431 w 2188517"/>
                      <a:gd name="connsiteY14" fmla="*/ 487604 h 98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88517" h="987894">
                        <a:moveTo>
                          <a:pt x="2188431" y="487604"/>
                        </a:moveTo>
                        <a:cubicBezTo>
                          <a:pt x="2188431" y="218342"/>
                          <a:pt x="1970090" y="0"/>
                          <a:pt x="1700828" y="0"/>
                        </a:cubicBezTo>
                        <a:lnTo>
                          <a:pt x="416667" y="0"/>
                        </a:lnTo>
                        <a:cubicBezTo>
                          <a:pt x="371490" y="0"/>
                          <a:pt x="330342" y="17059"/>
                          <a:pt x="299224" y="45006"/>
                        </a:cubicBezTo>
                        <a:cubicBezTo>
                          <a:pt x="254304" y="76810"/>
                          <a:pt x="224986" y="129188"/>
                          <a:pt x="224986" y="188424"/>
                        </a:cubicBezTo>
                        <a:lnTo>
                          <a:pt x="224986" y="577358"/>
                        </a:lnTo>
                        <a:cubicBezTo>
                          <a:pt x="224986" y="623992"/>
                          <a:pt x="206469" y="668655"/>
                          <a:pt x="173551" y="701573"/>
                        </a:cubicBezTo>
                        <a:lnTo>
                          <a:pt x="28419" y="823474"/>
                        </a:lnTo>
                        <a:cubicBezTo>
                          <a:pt x="-32275" y="884168"/>
                          <a:pt x="10674" y="987895"/>
                          <a:pt x="96570" y="987895"/>
                        </a:cubicBezTo>
                        <a:lnTo>
                          <a:pt x="1700913" y="987895"/>
                        </a:lnTo>
                        <a:cubicBezTo>
                          <a:pt x="1970175" y="987895"/>
                          <a:pt x="2188517" y="769553"/>
                          <a:pt x="2188517" y="500291"/>
                        </a:cubicBezTo>
                        <a:lnTo>
                          <a:pt x="2188517" y="500291"/>
                        </a:lnTo>
                        <a:cubicBezTo>
                          <a:pt x="2188517" y="498148"/>
                          <a:pt x="2188517" y="496005"/>
                          <a:pt x="2188517" y="493947"/>
                        </a:cubicBezTo>
                        <a:cubicBezTo>
                          <a:pt x="2188431" y="491804"/>
                          <a:pt x="2188431" y="489747"/>
                          <a:pt x="2188431" y="487604"/>
                        </a:cubicBezTo>
                        <a:lnTo>
                          <a:pt x="2188431" y="487604"/>
                        </a:lnTo>
                        <a:close/>
                      </a:path>
                    </a:pathLst>
                  </a:custGeom>
                  <a:solidFill>
                    <a:schemeClr val="bg1">
                      <a:lumMod val="95000"/>
                    </a:schemeClr>
                  </a:solidFill>
                  <a:ln w="9525" cap="flat">
                    <a:noFill/>
                    <a:prstDash val="solid"/>
                    <a:miter/>
                  </a:ln>
                  <a:effectLst>
                    <a:outerShdw blurRad="236634" dist="125440" dir="2220000" sx="103000" sy="103000" algn="ctr" rotWithShape="0">
                      <a:prstClr val="black">
                        <a:alpha val="9750"/>
                      </a:prstClr>
                    </a:outerShdw>
                  </a:effectLst>
                </p:spPr>
                <p:txBody>
                  <a:bodyPr rtlCol="0" anchor="ctr"/>
                  <a:lstStyle/>
                  <a:p>
                    <a:endParaRPr lang="en-US"/>
                  </a:p>
                </p:txBody>
              </p:sp>
              <p:sp>
                <p:nvSpPr>
                  <p:cNvPr id="82" name="Freeform 18">
                    <a:extLst>
                      <a:ext uri="{FF2B5EF4-FFF2-40B4-BE49-F238E27FC236}">
                        <a16:creationId xmlns:a16="http://schemas.microsoft.com/office/drawing/2014/main" id="{600F52F1-41DD-EB39-B852-96EFC97B7B74}"/>
                      </a:ext>
                    </a:extLst>
                  </p:cNvPr>
                  <p:cNvSpPr/>
                  <p:nvPr/>
                </p:nvSpPr>
                <p:spPr>
                  <a:xfrm>
                    <a:off x="6485962" y="2592666"/>
                    <a:ext cx="1171860" cy="975207"/>
                  </a:xfrm>
                  <a:custGeom>
                    <a:avLst/>
                    <a:gdLst>
                      <a:gd name="connsiteX0" fmla="*/ 487604 w 1171860"/>
                      <a:gd name="connsiteY0" fmla="*/ 975208 h 975207"/>
                      <a:gd name="connsiteX1" fmla="*/ 1171861 w 1171860"/>
                      <a:gd name="connsiteY1" fmla="*/ 975208 h 975207"/>
                      <a:gd name="connsiteX2" fmla="*/ 1171861 w 1171860"/>
                      <a:gd name="connsiteY2" fmla="*/ 0 h 975207"/>
                      <a:gd name="connsiteX3" fmla="*/ 487604 w 1171860"/>
                      <a:gd name="connsiteY3" fmla="*/ 0 h 975207"/>
                      <a:gd name="connsiteX4" fmla="*/ 0 w 1171860"/>
                      <a:gd name="connsiteY4" fmla="*/ 487604 h 975207"/>
                      <a:gd name="connsiteX5" fmla="*/ 0 w 1171860"/>
                      <a:gd name="connsiteY5" fmla="*/ 487604 h 975207"/>
                      <a:gd name="connsiteX6" fmla="*/ 487604 w 1171860"/>
                      <a:gd name="connsiteY6" fmla="*/ 975208 h 9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1860" h="975207">
                        <a:moveTo>
                          <a:pt x="487604" y="975208"/>
                        </a:moveTo>
                        <a:lnTo>
                          <a:pt x="1171861" y="975208"/>
                        </a:lnTo>
                        <a:lnTo>
                          <a:pt x="1171861" y="0"/>
                        </a:lnTo>
                        <a:lnTo>
                          <a:pt x="487604" y="0"/>
                        </a:lnTo>
                        <a:cubicBezTo>
                          <a:pt x="218342" y="0"/>
                          <a:pt x="0" y="218342"/>
                          <a:pt x="0" y="487604"/>
                        </a:cubicBezTo>
                        <a:lnTo>
                          <a:pt x="0" y="487604"/>
                        </a:lnTo>
                        <a:cubicBezTo>
                          <a:pt x="0" y="756866"/>
                          <a:pt x="218256" y="975208"/>
                          <a:pt x="487604" y="975208"/>
                        </a:cubicBezTo>
                        <a:close/>
                      </a:path>
                    </a:pathLst>
                  </a:custGeom>
                  <a:solidFill>
                    <a:srgbClr val="002060"/>
                  </a:solidFill>
                  <a:ln w="8572" cap="flat">
                    <a:noFill/>
                    <a:prstDash val="solid"/>
                    <a:miter/>
                  </a:ln>
                </p:spPr>
                <p:txBody>
                  <a:bodyPr rtlCol="0" anchor="ctr"/>
                  <a:lstStyle/>
                  <a:p>
                    <a:endParaRPr lang="en-US"/>
                  </a:p>
                </p:txBody>
              </p:sp>
              <p:sp>
                <p:nvSpPr>
                  <p:cNvPr id="83" name="Freeform 19">
                    <a:extLst>
                      <a:ext uri="{FF2B5EF4-FFF2-40B4-BE49-F238E27FC236}">
                        <a16:creationId xmlns:a16="http://schemas.microsoft.com/office/drawing/2014/main" id="{A37D9175-E2F5-024D-73A2-EB515AC96D45}"/>
                      </a:ext>
                    </a:extLst>
                  </p:cNvPr>
                  <p:cNvSpPr/>
                  <p:nvPr/>
                </p:nvSpPr>
                <p:spPr>
                  <a:xfrm>
                    <a:off x="7250843" y="2587352"/>
                    <a:ext cx="2188517" cy="987894"/>
                  </a:xfrm>
                  <a:custGeom>
                    <a:avLst/>
                    <a:gdLst>
                      <a:gd name="connsiteX0" fmla="*/ 2188431 w 2188517"/>
                      <a:gd name="connsiteY0" fmla="*/ 487604 h 987894"/>
                      <a:gd name="connsiteX1" fmla="*/ 1700828 w 2188517"/>
                      <a:gd name="connsiteY1" fmla="*/ 0 h 987894"/>
                      <a:gd name="connsiteX2" fmla="*/ 416667 w 2188517"/>
                      <a:gd name="connsiteY2" fmla="*/ 0 h 987894"/>
                      <a:gd name="connsiteX3" fmla="*/ 299224 w 2188517"/>
                      <a:gd name="connsiteY3" fmla="*/ 45006 h 987894"/>
                      <a:gd name="connsiteX4" fmla="*/ 224986 w 2188517"/>
                      <a:gd name="connsiteY4" fmla="*/ 188423 h 987894"/>
                      <a:gd name="connsiteX5" fmla="*/ 224986 w 2188517"/>
                      <a:gd name="connsiteY5" fmla="*/ 577358 h 987894"/>
                      <a:gd name="connsiteX6" fmla="*/ 173551 w 2188517"/>
                      <a:gd name="connsiteY6" fmla="*/ 701573 h 987894"/>
                      <a:gd name="connsiteX7" fmla="*/ 28419 w 2188517"/>
                      <a:gd name="connsiteY7" fmla="*/ 823474 h 987894"/>
                      <a:gd name="connsiteX8" fmla="*/ 96570 w 2188517"/>
                      <a:gd name="connsiteY8" fmla="*/ 987895 h 987894"/>
                      <a:gd name="connsiteX9" fmla="*/ 1700913 w 2188517"/>
                      <a:gd name="connsiteY9" fmla="*/ 987895 h 987894"/>
                      <a:gd name="connsiteX10" fmla="*/ 2188517 w 2188517"/>
                      <a:gd name="connsiteY10" fmla="*/ 500291 h 987894"/>
                      <a:gd name="connsiteX11" fmla="*/ 2188517 w 2188517"/>
                      <a:gd name="connsiteY11" fmla="*/ 500291 h 987894"/>
                      <a:gd name="connsiteX12" fmla="*/ 2188517 w 2188517"/>
                      <a:gd name="connsiteY12" fmla="*/ 493947 h 987894"/>
                      <a:gd name="connsiteX13" fmla="*/ 2188431 w 2188517"/>
                      <a:gd name="connsiteY13" fmla="*/ 487604 h 987894"/>
                      <a:gd name="connsiteX14" fmla="*/ 2188431 w 2188517"/>
                      <a:gd name="connsiteY14" fmla="*/ 487604 h 98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88517" h="987894">
                        <a:moveTo>
                          <a:pt x="2188431" y="487604"/>
                        </a:moveTo>
                        <a:cubicBezTo>
                          <a:pt x="2188431" y="218342"/>
                          <a:pt x="1970090" y="0"/>
                          <a:pt x="1700828" y="0"/>
                        </a:cubicBezTo>
                        <a:lnTo>
                          <a:pt x="416667" y="0"/>
                        </a:lnTo>
                        <a:cubicBezTo>
                          <a:pt x="371490" y="0"/>
                          <a:pt x="330342" y="17059"/>
                          <a:pt x="299224" y="45006"/>
                        </a:cubicBezTo>
                        <a:cubicBezTo>
                          <a:pt x="254304" y="76810"/>
                          <a:pt x="224986" y="129188"/>
                          <a:pt x="224986" y="188423"/>
                        </a:cubicBezTo>
                        <a:lnTo>
                          <a:pt x="224986" y="577358"/>
                        </a:lnTo>
                        <a:cubicBezTo>
                          <a:pt x="224986" y="623992"/>
                          <a:pt x="206469" y="668655"/>
                          <a:pt x="173551" y="701573"/>
                        </a:cubicBezTo>
                        <a:lnTo>
                          <a:pt x="28419" y="823474"/>
                        </a:lnTo>
                        <a:cubicBezTo>
                          <a:pt x="-32275" y="884168"/>
                          <a:pt x="10674" y="987895"/>
                          <a:pt x="96570" y="987895"/>
                        </a:cubicBezTo>
                        <a:lnTo>
                          <a:pt x="1700913" y="987895"/>
                        </a:lnTo>
                        <a:cubicBezTo>
                          <a:pt x="1970175" y="987895"/>
                          <a:pt x="2188517" y="769553"/>
                          <a:pt x="2188517" y="500291"/>
                        </a:cubicBezTo>
                        <a:lnTo>
                          <a:pt x="2188517" y="500291"/>
                        </a:lnTo>
                        <a:cubicBezTo>
                          <a:pt x="2188517" y="498148"/>
                          <a:pt x="2188517" y="496005"/>
                          <a:pt x="2188517" y="493947"/>
                        </a:cubicBezTo>
                        <a:cubicBezTo>
                          <a:pt x="2188431" y="491890"/>
                          <a:pt x="2188431" y="489747"/>
                          <a:pt x="2188431" y="487604"/>
                        </a:cubicBezTo>
                        <a:lnTo>
                          <a:pt x="2188431" y="487604"/>
                        </a:lnTo>
                        <a:close/>
                      </a:path>
                    </a:pathLst>
                  </a:custGeom>
                  <a:solidFill>
                    <a:schemeClr val="bg1">
                      <a:lumMod val="95000"/>
                    </a:schemeClr>
                  </a:solidFill>
                  <a:ln w="9525" cap="flat">
                    <a:noFill/>
                    <a:prstDash val="solid"/>
                    <a:miter/>
                  </a:ln>
                  <a:effectLst>
                    <a:outerShdw blurRad="236634" dist="125440" dir="2220000" sx="103000" sy="103000" algn="ctr" rotWithShape="0">
                      <a:prstClr val="black">
                        <a:alpha val="9750"/>
                      </a:prstClr>
                    </a:outerShdw>
                  </a:effectLst>
                </p:spPr>
                <p:txBody>
                  <a:bodyPr rtlCol="0" anchor="ctr"/>
                  <a:lstStyle/>
                  <a:p>
                    <a:endParaRPr lang="en-US"/>
                  </a:p>
                </p:txBody>
              </p:sp>
              <p:sp>
                <p:nvSpPr>
                  <p:cNvPr id="84" name="Freeform 20">
                    <a:extLst>
                      <a:ext uri="{FF2B5EF4-FFF2-40B4-BE49-F238E27FC236}">
                        <a16:creationId xmlns:a16="http://schemas.microsoft.com/office/drawing/2014/main" id="{2F7C40EE-42C1-45A5-F984-B1DF12285A3E}"/>
                      </a:ext>
                    </a:extLst>
                  </p:cNvPr>
                  <p:cNvSpPr/>
                  <p:nvPr/>
                </p:nvSpPr>
                <p:spPr>
                  <a:xfrm>
                    <a:off x="6485962" y="3999842"/>
                    <a:ext cx="1171860" cy="975207"/>
                  </a:xfrm>
                  <a:custGeom>
                    <a:avLst/>
                    <a:gdLst>
                      <a:gd name="connsiteX0" fmla="*/ 487604 w 1171860"/>
                      <a:gd name="connsiteY0" fmla="*/ 975207 h 975207"/>
                      <a:gd name="connsiteX1" fmla="*/ 1171861 w 1171860"/>
                      <a:gd name="connsiteY1" fmla="*/ 975207 h 975207"/>
                      <a:gd name="connsiteX2" fmla="*/ 1171861 w 1171860"/>
                      <a:gd name="connsiteY2" fmla="*/ 0 h 975207"/>
                      <a:gd name="connsiteX3" fmla="*/ 487604 w 1171860"/>
                      <a:gd name="connsiteY3" fmla="*/ 0 h 975207"/>
                      <a:gd name="connsiteX4" fmla="*/ 0 w 1171860"/>
                      <a:gd name="connsiteY4" fmla="*/ 487604 h 975207"/>
                      <a:gd name="connsiteX5" fmla="*/ 0 w 1171860"/>
                      <a:gd name="connsiteY5" fmla="*/ 487604 h 975207"/>
                      <a:gd name="connsiteX6" fmla="*/ 487604 w 1171860"/>
                      <a:gd name="connsiteY6" fmla="*/ 975207 h 9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1860" h="975207">
                        <a:moveTo>
                          <a:pt x="487604" y="975207"/>
                        </a:moveTo>
                        <a:lnTo>
                          <a:pt x="1171861" y="975207"/>
                        </a:lnTo>
                        <a:lnTo>
                          <a:pt x="1171861" y="0"/>
                        </a:lnTo>
                        <a:lnTo>
                          <a:pt x="487604" y="0"/>
                        </a:lnTo>
                        <a:cubicBezTo>
                          <a:pt x="218342" y="0"/>
                          <a:pt x="0" y="218342"/>
                          <a:pt x="0" y="487604"/>
                        </a:cubicBezTo>
                        <a:lnTo>
                          <a:pt x="0" y="487604"/>
                        </a:lnTo>
                        <a:cubicBezTo>
                          <a:pt x="0" y="756952"/>
                          <a:pt x="218256" y="975207"/>
                          <a:pt x="487604" y="975207"/>
                        </a:cubicBezTo>
                        <a:close/>
                      </a:path>
                    </a:pathLst>
                  </a:custGeom>
                  <a:solidFill>
                    <a:srgbClr val="7030A0"/>
                  </a:solidFill>
                  <a:ln w="8572" cap="flat">
                    <a:noFill/>
                    <a:prstDash val="solid"/>
                    <a:miter/>
                  </a:ln>
                </p:spPr>
                <p:txBody>
                  <a:bodyPr rtlCol="0" anchor="ctr"/>
                  <a:lstStyle/>
                  <a:p>
                    <a:endParaRPr lang="en-US"/>
                  </a:p>
                </p:txBody>
              </p:sp>
              <p:sp>
                <p:nvSpPr>
                  <p:cNvPr id="85" name="Freeform 21">
                    <a:extLst>
                      <a:ext uri="{FF2B5EF4-FFF2-40B4-BE49-F238E27FC236}">
                        <a16:creationId xmlns:a16="http://schemas.microsoft.com/office/drawing/2014/main" id="{ECFE04E8-AE56-C6BE-AC49-2993A0440F5C}"/>
                      </a:ext>
                    </a:extLst>
                  </p:cNvPr>
                  <p:cNvSpPr/>
                  <p:nvPr/>
                </p:nvSpPr>
                <p:spPr>
                  <a:xfrm>
                    <a:off x="7250843" y="3994527"/>
                    <a:ext cx="2188517" cy="987895"/>
                  </a:xfrm>
                  <a:custGeom>
                    <a:avLst/>
                    <a:gdLst>
                      <a:gd name="connsiteX0" fmla="*/ 2188431 w 2188517"/>
                      <a:gd name="connsiteY0" fmla="*/ 487604 h 987895"/>
                      <a:gd name="connsiteX1" fmla="*/ 1700828 w 2188517"/>
                      <a:gd name="connsiteY1" fmla="*/ 0 h 987895"/>
                      <a:gd name="connsiteX2" fmla="*/ 416667 w 2188517"/>
                      <a:gd name="connsiteY2" fmla="*/ 0 h 987895"/>
                      <a:gd name="connsiteX3" fmla="*/ 299224 w 2188517"/>
                      <a:gd name="connsiteY3" fmla="*/ 45006 h 987895"/>
                      <a:gd name="connsiteX4" fmla="*/ 224986 w 2188517"/>
                      <a:gd name="connsiteY4" fmla="*/ 188424 h 987895"/>
                      <a:gd name="connsiteX5" fmla="*/ 224986 w 2188517"/>
                      <a:gd name="connsiteY5" fmla="*/ 577358 h 987895"/>
                      <a:gd name="connsiteX6" fmla="*/ 173551 w 2188517"/>
                      <a:gd name="connsiteY6" fmla="*/ 701573 h 987895"/>
                      <a:gd name="connsiteX7" fmla="*/ 28419 w 2188517"/>
                      <a:gd name="connsiteY7" fmla="*/ 823475 h 987895"/>
                      <a:gd name="connsiteX8" fmla="*/ 96570 w 2188517"/>
                      <a:gd name="connsiteY8" fmla="*/ 987895 h 987895"/>
                      <a:gd name="connsiteX9" fmla="*/ 1700913 w 2188517"/>
                      <a:gd name="connsiteY9" fmla="*/ 987895 h 987895"/>
                      <a:gd name="connsiteX10" fmla="*/ 2188517 w 2188517"/>
                      <a:gd name="connsiteY10" fmla="*/ 500291 h 987895"/>
                      <a:gd name="connsiteX11" fmla="*/ 2188517 w 2188517"/>
                      <a:gd name="connsiteY11" fmla="*/ 500291 h 987895"/>
                      <a:gd name="connsiteX12" fmla="*/ 2188517 w 2188517"/>
                      <a:gd name="connsiteY12" fmla="*/ 493948 h 987895"/>
                      <a:gd name="connsiteX13" fmla="*/ 2188431 w 2188517"/>
                      <a:gd name="connsiteY13" fmla="*/ 487604 h 987895"/>
                      <a:gd name="connsiteX14" fmla="*/ 2188431 w 2188517"/>
                      <a:gd name="connsiteY14" fmla="*/ 487604 h 98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88517" h="987895">
                        <a:moveTo>
                          <a:pt x="2188431" y="487604"/>
                        </a:moveTo>
                        <a:cubicBezTo>
                          <a:pt x="2188431" y="218342"/>
                          <a:pt x="1970090" y="0"/>
                          <a:pt x="1700828" y="0"/>
                        </a:cubicBezTo>
                        <a:lnTo>
                          <a:pt x="416667" y="0"/>
                        </a:lnTo>
                        <a:cubicBezTo>
                          <a:pt x="371490" y="0"/>
                          <a:pt x="330342" y="17059"/>
                          <a:pt x="299224" y="45006"/>
                        </a:cubicBezTo>
                        <a:cubicBezTo>
                          <a:pt x="254304" y="76810"/>
                          <a:pt x="224986" y="129188"/>
                          <a:pt x="224986" y="188424"/>
                        </a:cubicBezTo>
                        <a:lnTo>
                          <a:pt x="224986" y="577358"/>
                        </a:lnTo>
                        <a:cubicBezTo>
                          <a:pt x="224986" y="623992"/>
                          <a:pt x="206469" y="668655"/>
                          <a:pt x="173551" y="701573"/>
                        </a:cubicBezTo>
                        <a:lnTo>
                          <a:pt x="28419" y="823475"/>
                        </a:lnTo>
                        <a:cubicBezTo>
                          <a:pt x="-32275" y="884168"/>
                          <a:pt x="10674" y="987895"/>
                          <a:pt x="96570" y="987895"/>
                        </a:cubicBezTo>
                        <a:lnTo>
                          <a:pt x="1700913" y="987895"/>
                        </a:lnTo>
                        <a:cubicBezTo>
                          <a:pt x="1970175" y="987895"/>
                          <a:pt x="2188517" y="769553"/>
                          <a:pt x="2188517" y="500291"/>
                        </a:cubicBezTo>
                        <a:lnTo>
                          <a:pt x="2188517" y="500291"/>
                        </a:lnTo>
                        <a:cubicBezTo>
                          <a:pt x="2188517" y="498148"/>
                          <a:pt x="2188517" y="496005"/>
                          <a:pt x="2188517" y="493948"/>
                        </a:cubicBezTo>
                        <a:cubicBezTo>
                          <a:pt x="2188431" y="491890"/>
                          <a:pt x="2188431" y="489747"/>
                          <a:pt x="2188431" y="487604"/>
                        </a:cubicBezTo>
                        <a:lnTo>
                          <a:pt x="2188431" y="487604"/>
                        </a:lnTo>
                        <a:close/>
                      </a:path>
                    </a:pathLst>
                  </a:custGeom>
                  <a:solidFill>
                    <a:schemeClr val="bg1">
                      <a:lumMod val="95000"/>
                    </a:schemeClr>
                  </a:solidFill>
                  <a:ln w="9525" cap="flat">
                    <a:noFill/>
                    <a:prstDash val="solid"/>
                    <a:miter/>
                  </a:ln>
                  <a:effectLst>
                    <a:outerShdw blurRad="236634" dist="125440" dir="2220000" sx="103000" sy="103000" algn="ctr" rotWithShape="0">
                      <a:prstClr val="black">
                        <a:alpha val="9750"/>
                      </a:prstClr>
                    </a:outerShdw>
                  </a:effectLst>
                </p:spPr>
                <p:txBody>
                  <a:bodyPr rtlCol="0" anchor="ctr"/>
                  <a:lstStyle/>
                  <a:p>
                    <a:endParaRPr lang="en-US"/>
                  </a:p>
                </p:txBody>
              </p:sp>
              <p:sp>
                <p:nvSpPr>
                  <p:cNvPr id="86" name="Freeform 22">
                    <a:extLst>
                      <a:ext uri="{FF2B5EF4-FFF2-40B4-BE49-F238E27FC236}">
                        <a16:creationId xmlns:a16="http://schemas.microsoft.com/office/drawing/2014/main" id="{57C6AAF5-F4F8-AC68-655C-675F23D6C72A}"/>
                      </a:ext>
                    </a:extLst>
                  </p:cNvPr>
                  <p:cNvSpPr/>
                  <p:nvPr/>
                </p:nvSpPr>
                <p:spPr>
                  <a:xfrm>
                    <a:off x="4534176" y="1880806"/>
                    <a:ext cx="1171860" cy="975207"/>
                  </a:xfrm>
                  <a:custGeom>
                    <a:avLst/>
                    <a:gdLst>
                      <a:gd name="connsiteX0" fmla="*/ 684257 w 1171860"/>
                      <a:gd name="connsiteY0" fmla="*/ 975208 h 975207"/>
                      <a:gd name="connsiteX1" fmla="*/ 0 w 1171860"/>
                      <a:gd name="connsiteY1" fmla="*/ 975208 h 975207"/>
                      <a:gd name="connsiteX2" fmla="*/ 0 w 1171860"/>
                      <a:gd name="connsiteY2" fmla="*/ 0 h 975207"/>
                      <a:gd name="connsiteX3" fmla="*/ 684257 w 1171860"/>
                      <a:gd name="connsiteY3" fmla="*/ 0 h 975207"/>
                      <a:gd name="connsiteX4" fmla="*/ 1171861 w 1171860"/>
                      <a:gd name="connsiteY4" fmla="*/ 487604 h 975207"/>
                      <a:gd name="connsiteX5" fmla="*/ 1171861 w 1171860"/>
                      <a:gd name="connsiteY5" fmla="*/ 487604 h 975207"/>
                      <a:gd name="connsiteX6" fmla="*/ 684257 w 1171860"/>
                      <a:gd name="connsiteY6" fmla="*/ 975208 h 9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1860" h="975207">
                        <a:moveTo>
                          <a:pt x="684257" y="975208"/>
                        </a:moveTo>
                        <a:lnTo>
                          <a:pt x="0" y="975208"/>
                        </a:lnTo>
                        <a:lnTo>
                          <a:pt x="0" y="0"/>
                        </a:lnTo>
                        <a:lnTo>
                          <a:pt x="684257" y="0"/>
                        </a:lnTo>
                        <a:cubicBezTo>
                          <a:pt x="953519" y="0"/>
                          <a:pt x="1171861" y="218342"/>
                          <a:pt x="1171861" y="487604"/>
                        </a:cubicBezTo>
                        <a:lnTo>
                          <a:pt x="1171861" y="487604"/>
                        </a:lnTo>
                        <a:cubicBezTo>
                          <a:pt x="1171861" y="756866"/>
                          <a:pt x="953605" y="975208"/>
                          <a:pt x="684257" y="975208"/>
                        </a:cubicBezTo>
                        <a:close/>
                      </a:path>
                    </a:pathLst>
                  </a:custGeom>
                  <a:solidFill>
                    <a:srgbClr val="00B050"/>
                  </a:solidFill>
                  <a:ln w="8572" cap="flat">
                    <a:noFill/>
                    <a:prstDash val="solid"/>
                    <a:miter/>
                  </a:ln>
                </p:spPr>
                <p:txBody>
                  <a:bodyPr rtlCol="0" anchor="ctr"/>
                  <a:lstStyle/>
                  <a:p>
                    <a:endParaRPr lang="en-US"/>
                  </a:p>
                </p:txBody>
              </p:sp>
              <p:sp>
                <p:nvSpPr>
                  <p:cNvPr id="87" name="Freeform 23">
                    <a:extLst>
                      <a:ext uri="{FF2B5EF4-FFF2-40B4-BE49-F238E27FC236}">
                        <a16:creationId xmlns:a16="http://schemas.microsoft.com/office/drawing/2014/main" id="{F0A5C25D-84AA-A219-4E45-B7458B269371}"/>
                      </a:ext>
                    </a:extLst>
                  </p:cNvPr>
                  <p:cNvSpPr/>
                  <p:nvPr/>
                </p:nvSpPr>
                <p:spPr>
                  <a:xfrm>
                    <a:off x="2752725" y="1875491"/>
                    <a:ext cx="2188431" cy="987894"/>
                  </a:xfrm>
                  <a:custGeom>
                    <a:avLst/>
                    <a:gdLst>
                      <a:gd name="connsiteX0" fmla="*/ 0 w 2188431"/>
                      <a:gd name="connsiteY0" fmla="*/ 487604 h 987894"/>
                      <a:gd name="connsiteX1" fmla="*/ 487604 w 2188431"/>
                      <a:gd name="connsiteY1" fmla="*/ 0 h 987894"/>
                      <a:gd name="connsiteX2" fmla="*/ 1771764 w 2188431"/>
                      <a:gd name="connsiteY2" fmla="*/ 0 h 987894"/>
                      <a:gd name="connsiteX3" fmla="*/ 1889208 w 2188431"/>
                      <a:gd name="connsiteY3" fmla="*/ 45006 h 987894"/>
                      <a:gd name="connsiteX4" fmla="*/ 1963445 w 2188431"/>
                      <a:gd name="connsiteY4" fmla="*/ 188424 h 987894"/>
                      <a:gd name="connsiteX5" fmla="*/ 1963445 w 2188431"/>
                      <a:gd name="connsiteY5" fmla="*/ 577358 h 987894"/>
                      <a:gd name="connsiteX6" fmla="*/ 2014880 w 2188431"/>
                      <a:gd name="connsiteY6" fmla="*/ 701573 h 987894"/>
                      <a:gd name="connsiteX7" fmla="*/ 2160013 w 2188431"/>
                      <a:gd name="connsiteY7" fmla="*/ 823474 h 987894"/>
                      <a:gd name="connsiteX8" fmla="*/ 2091862 w 2188431"/>
                      <a:gd name="connsiteY8" fmla="*/ 987895 h 987894"/>
                      <a:gd name="connsiteX9" fmla="*/ 487604 w 2188431"/>
                      <a:gd name="connsiteY9" fmla="*/ 987895 h 987894"/>
                      <a:gd name="connsiteX10" fmla="*/ 0 w 2188431"/>
                      <a:gd name="connsiteY10" fmla="*/ 500291 h 987894"/>
                      <a:gd name="connsiteX11" fmla="*/ 0 w 2188431"/>
                      <a:gd name="connsiteY11" fmla="*/ 500291 h 987894"/>
                      <a:gd name="connsiteX12" fmla="*/ 0 w 2188431"/>
                      <a:gd name="connsiteY12" fmla="*/ 493947 h 987894"/>
                      <a:gd name="connsiteX13" fmla="*/ 0 w 2188431"/>
                      <a:gd name="connsiteY13" fmla="*/ 487604 h 987894"/>
                      <a:gd name="connsiteX14" fmla="*/ 0 w 2188431"/>
                      <a:gd name="connsiteY14" fmla="*/ 487604 h 98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88431" h="987894">
                        <a:moveTo>
                          <a:pt x="0" y="487604"/>
                        </a:moveTo>
                        <a:cubicBezTo>
                          <a:pt x="0" y="218342"/>
                          <a:pt x="218342" y="0"/>
                          <a:pt x="487604" y="0"/>
                        </a:cubicBezTo>
                        <a:lnTo>
                          <a:pt x="1771764" y="0"/>
                        </a:lnTo>
                        <a:cubicBezTo>
                          <a:pt x="1816941" y="0"/>
                          <a:pt x="1858089" y="17059"/>
                          <a:pt x="1889208" y="45006"/>
                        </a:cubicBezTo>
                        <a:cubicBezTo>
                          <a:pt x="1934127" y="76810"/>
                          <a:pt x="1963445" y="129188"/>
                          <a:pt x="1963445" y="188424"/>
                        </a:cubicBezTo>
                        <a:lnTo>
                          <a:pt x="1963445" y="577358"/>
                        </a:lnTo>
                        <a:cubicBezTo>
                          <a:pt x="1963445" y="623992"/>
                          <a:pt x="1981962" y="668655"/>
                          <a:pt x="2014880" y="701573"/>
                        </a:cubicBezTo>
                        <a:lnTo>
                          <a:pt x="2160013" y="823474"/>
                        </a:lnTo>
                        <a:cubicBezTo>
                          <a:pt x="2220706" y="884168"/>
                          <a:pt x="2177758" y="987895"/>
                          <a:pt x="2091862" y="987895"/>
                        </a:cubicBezTo>
                        <a:lnTo>
                          <a:pt x="487604" y="987895"/>
                        </a:lnTo>
                        <a:cubicBezTo>
                          <a:pt x="218342" y="987895"/>
                          <a:pt x="0" y="769553"/>
                          <a:pt x="0" y="500291"/>
                        </a:cubicBezTo>
                        <a:lnTo>
                          <a:pt x="0" y="500291"/>
                        </a:lnTo>
                        <a:cubicBezTo>
                          <a:pt x="0" y="498148"/>
                          <a:pt x="0" y="496005"/>
                          <a:pt x="0" y="493947"/>
                        </a:cubicBezTo>
                        <a:cubicBezTo>
                          <a:pt x="0" y="491804"/>
                          <a:pt x="0" y="489747"/>
                          <a:pt x="0" y="487604"/>
                        </a:cubicBezTo>
                        <a:lnTo>
                          <a:pt x="0" y="487604"/>
                        </a:lnTo>
                        <a:close/>
                      </a:path>
                    </a:pathLst>
                  </a:custGeom>
                  <a:solidFill>
                    <a:schemeClr val="bg2"/>
                  </a:solidFill>
                  <a:ln w="9525" cap="flat">
                    <a:noFill/>
                    <a:prstDash val="solid"/>
                    <a:miter/>
                  </a:ln>
                  <a:effectLst>
                    <a:outerShdw blurRad="236634" dist="125440" dir="2220000" sx="103000" sy="103000" algn="ctr" rotWithShape="0">
                      <a:prstClr val="black">
                        <a:alpha val="9750"/>
                      </a:prstClr>
                    </a:outerShdw>
                  </a:effectLst>
                </p:spPr>
                <p:txBody>
                  <a:bodyPr rtlCol="0" anchor="ctr"/>
                  <a:lstStyle/>
                  <a:p>
                    <a:endParaRPr lang="en-US"/>
                  </a:p>
                </p:txBody>
              </p:sp>
              <p:sp>
                <p:nvSpPr>
                  <p:cNvPr id="88" name="Freeform 24">
                    <a:extLst>
                      <a:ext uri="{FF2B5EF4-FFF2-40B4-BE49-F238E27FC236}">
                        <a16:creationId xmlns:a16="http://schemas.microsoft.com/office/drawing/2014/main" id="{285D46AC-8891-3CD3-4185-2E4945ECE505}"/>
                      </a:ext>
                    </a:extLst>
                  </p:cNvPr>
                  <p:cNvSpPr/>
                  <p:nvPr/>
                </p:nvSpPr>
                <p:spPr>
                  <a:xfrm>
                    <a:off x="4534176" y="3287982"/>
                    <a:ext cx="1171860" cy="975207"/>
                  </a:xfrm>
                  <a:custGeom>
                    <a:avLst/>
                    <a:gdLst>
                      <a:gd name="connsiteX0" fmla="*/ 684257 w 1171860"/>
                      <a:gd name="connsiteY0" fmla="*/ 975208 h 975207"/>
                      <a:gd name="connsiteX1" fmla="*/ 0 w 1171860"/>
                      <a:gd name="connsiteY1" fmla="*/ 975208 h 975207"/>
                      <a:gd name="connsiteX2" fmla="*/ 0 w 1171860"/>
                      <a:gd name="connsiteY2" fmla="*/ 0 h 975207"/>
                      <a:gd name="connsiteX3" fmla="*/ 684257 w 1171860"/>
                      <a:gd name="connsiteY3" fmla="*/ 0 h 975207"/>
                      <a:gd name="connsiteX4" fmla="*/ 1171861 w 1171860"/>
                      <a:gd name="connsiteY4" fmla="*/ 487604 h 975207"/>
                      <a:gd name="connsiteX5" fmla="*/ 1171861 w 1171860"/>
                      <a:gd name="connsiteY5" fmla="*/ 487604 h 975207"/>
                      <a:gd name="connsiteX6" fmla="*/ 684257 w 1171860"/>
                      <a:gd name="connsiteY6" fmla="*/ 975208 h 9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1860" h="975207">
                        <a:moveTo>
                          <a:pt x="684257" y="975208"/>
                        </a:moveTo>
                        <a:lnTo>
                          <a:pt x="0" y="975208"/>
                        </a:lnTo>
                        <a:lnTo>
                          <a:pt x="0" y="0"/>
                        </a:lnTo>
                        <a:lnTo>
                          <a:pt x="684257" y="0"/>
                        </a:lnTo>
                        <a:cubicBezTo>
                          <a:pt x="953519" y="0"/>
                          <a:pt x="1171861" y="218342"/>
                          <a:pt x="1171861" y="487604"/>
                        </a:cubicBezTo>
                        <a:lnTo>
                          <a:pt x="1171861" y="487604"/>
                        </a:lnTo>
                        <a:cubicBezTo>
                          <a:pt x="1171861" y="756866"/>
                          <a:pt x="953605" y="975208"/>
                          <a:pt x="684257" y="975208"/>
                        </a:cubicBezTo>
                        <a:close/>
                      </a:path>
                    </a:pathLst>
                  </a:custGeom>
                  <a:solidFill>
                    <a:srgbClr val="FFC000"/>
                  </a:solidFill>
                  <a:ln w="8572" cap="flat">
                    <a:noFill/>
                    <a:prstDash val="solid"/>
                    <a:miter/>
                  </a:ln>
                </p:spPr>
                <p:txBody>
                  <a:bodyPr rtlCol="0" anchor="ctr"/>
                  <a:lstStyle/>
                  <a:p>
                    <a:endParaRPr lang="en-US"/>
                  </a:p>
                </p:txBody>
              </p:sp>
              <p:sp>
                <p:nvSpPr>
                  <p:cNvPr id="89" name="Freeform 25">
                    <a:extLst>
                      <a:ext uri="{FF2B5EF4-FFF2-40B4-BE49-F238E27FC236}">
                        <a16:creationId xmlns:a16="http://schemas.microsoft.com/office/drawing/2014/main" id="{F7A22076-F7FE-E807-D0A1-B3C6FD197907}"/>
                      </a:ext>
                    </a:extLst>
                  </p:cNvPr>
                  <p:cNvSpPr/>
                  <p:nvPr/>
                </p:nvSpPr>
                <p:spPr>
                  <a:xfrm>
                    <a:off x="2752725" y="3282667"/>
                    <a:ext cx="2188431" cy="987980"/>
                  </a:xfrm>
                  <a:custGeom>
                    <a:avLst/>
                    <a:gdLst>
                      <a:gd name="connsiteX0" fmla="*/ 0 w 2188431"/>
                      <a:gd name="connsiteY0" fmla="*/ 487604 h 987980"/>
                      <a:gd name="connsiteX1" fmla="*/ 487604 w 2188431"/>
                      <a:gd name="connsiteY1" fmla="*/ 0 h 987980"/>
                      <a:gd name="connsiteX2" fmla="*/ 1771764 w 2188431"/>
                      <a:gd name="connsiteY2" fmla="*/ 0 h 987980"/>
                      <a:gd name="connsiteX3" fmla="*/ 1889208 w 2188431"/>
                      <a:gd name="connsiteY3" fmla="*/ 45006 h 987980"/>
                      <a:gd name="connsiteX4" fmla="*/ 1963445 w 2188431"/>
                      <a:gd name="connsiteY4" fmla="*/ 188424 h 987980"/>
                      <a:gd name="connsiteX5" fmla="*/ 1963445 w 2188431"/>
                      <a:gd name="connsiteY5" fmla="*/ 577358 h 987980"/>
                      <a:gd name="connsiteX6" fmla="*/ 2014880 w 2188431"/>
                      <a:gd name="connsiteY6" fmla="*/ 701573 h 987980"/>
                      <a:gd name="connsiteX7" fmla="*/ 2160013 w 2188431"/>
                      <a:gd name="connsiteY7" fmla="*/ 823560 h 987980"/>
                      <a:gd name="connsiteX8" fmla="*/ 2091862 w 2188431"/>
                      <a:gd name="connsiteY8" fmla="*/ 987981 h 987980"/>
                      <a:gd name="connsiteX9" fmla="*/ 487604 w 2188431"/>
                      <a:gd name="connsiteY9" fmla="*/ 987981 h 987980"/>
                      <a:gd name="connsiteX10" fmla="*/ 0 w 2188431"/>
                      <a:gd name="connsiteY10" fmla="*/ 500377 h 987980"/>
                      <a:gd name="connsiteX11" fmla="*/ 0 w 2188431"/>
                      <a:gd name="connsiteY11" fmla="*/ 500377 h 987980"/>
                      <a:gd name="connsiteX12" fmla="*/ 0 w 2188431"/>
                      <a:gd name="connsiteY12" fmla="*/ 494033 h 987980"/>
                      <a:gd name="connsiteX13" fmla="*/ 0 w 2188431"/>
                      <a:gd name="connsiteY13" fmla="*/ 487604 h 987980"/>
                      <a:gd name="connsiteX14" fmla="*/ 0 w 2188431"/>
                      <a:gd name="connsiteY14" fmla="*/ 487604 h 98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88431" h="987980">
                        <a:moveTo>
                          <a:pt x="0" y="487604"/>
                        </a:moveTo>
                        <a:cubicBezTo>
                          <a:pt x="0" y="218342"/>
                          <a:pt x="218342" y="0"/>
                          <a:pt x="487604" y="0"/>
                        </a:cubicBezTo>
                        <a:lnTo>
                          <a:pt x="1771764" y="0"/>
                        </a:lnTo>
                        <a:cubicBezTo>
                          <a:pt x="1816941" y="0"/>
                          <a:pt x="1858089" y="17059"/>
                          <a:pt x="1889208" y="45006"/>
                        </a:cubicBezTo>
                        <a:cubicBezTo>
                          <a:pt x="1934127" y="76810"/>
                          <a:pt x="1963445" y="129188"/>
                          <a:pt x="1963445" y="188424"/>
                        </a:cubicBezTo>
                        <a:lnTo>
                          <a:pt x="1963445" y="577358"/>
                        </a:lnTo>
                        <a:cubicBezTo>
                          <a:pt x="1963445" y="623992"/>
                          <a:pt x="1981962" y="668655"/>
                          <a:pt x="2014880" y="701573"/>
                        </a:cubicBezTo>
                        <a:lnTo>
                          <a:pt x="2160013" y="823560"/>
                        </a:lnTo>
                        <a:cubicBezTo>
                          <a:pt x="2220706" y="884253"/>
                          <a:pt x="2177758" y="987981"/>
                          <a:pt x="2091862" y="987981"/>
                        </a:cubicBezTo>
                        <a:lnTo>
                          <a:pt x="487604" y="987981"/>
                        </a:lnTo>
                        <a:cubicBezTo>
                          <a:pt x="218342" y="987981"/>
                          <a:pt x="0" y="769639"/>
                          <a:pt x="0" y="500377"/>
                        </a:cubicBezTo>
                        <a:lnTo>
                          <a:pt x="0" y="500377"/>
                        </a:lnTo>
                        <a:cubicBezTo>
                          <a:pt x="0" y="498234"/>
                          <a:pt x="0" y="496091"/>
                          <a:pt x="0" y="494033"/>
                        </a:cubicBezTo>
                        <a:cubicBezTo>
                          <a:pt x="0" y="491890"/>
                          <a:pt x="0" y="489747"/>
                          <a:pt x="0" y="487604"/>
                        </a:cubicBezTo>
                        <a:lnTo>
                          <a:pt x="0" y="487604"/>
                        </a:lnTo>
                        <a:close/>
                      </a:path>
                    </a:pathLst>
                  </a:custGeom>
                  <a:solidFill>
                    <a:schemeClr val="bg1">
                      <a:lumMod val="95000"/>
                    </a:schemeClr>
                  </a:solidFill>
                  <a:ln w="9525" cap="flat">
                    <a:noFill/>
                    <a:prstDash val="solid"/>
                    <a:miter/>
                  </a:ln>
                  <a:effectLst>
                    <a:outerShdw blurRad="236634" dist="125440" dir="2220000" sx="103000" sy="103000" algn="ctr" rotWithShape="0">
                      <a:prstClr val="black">
                        <a:alpha val="9750"/>
                      </a:prstClr>
                    </a:outerShdw>
                  </a:effectLst>
                </p:spPr>
                <p:txBody>
                  <a:bodyPr rtlCol="0" anchor="ctr"/>
                  <a:lstStyle/>
                  <a:p>
                    <a:endParaRPr lang="en-US"/>
                  </a:p>
                </p:txBody>
              </p:sp>
              <p:sp>
                <p:nvSpPr>
                  <p:cNvPr id="90" name="Freeform 28">
                    <a:extLst>
                      <a:ext uri="{FF2B5EF4-FFF2-40B4-BE49-F238E27FC236}">
                        <a16:creationId xmlns:a16="http://schemas.microsoft.com/office/drawing/2014/main" id="{7EE10A0E-7B72-ECED-1256-9DE9EFD435E9}"/>
                      </a:ext>
                    </a:extLst>
                  </p:cNvPr>
                  <p:cNvSpPr/>
                  <p:nvPr/>
                </p:nvSpPr>
                <p:spPr>
                  <a:xfrm>
                    <a:off x="6020990" y="1869747"/>
                    <a:ext cx="190652" cy="306895"/>
                  </a:xfrm>
                  <a:custGeom>
                    <a:avLst/>
                    <a:gdLst>
                      <a:gd name="connsiteX0" fmla="*/ 95412 w 190652"/>
                      <a:gd name="connsiteY0" fmla="*/ 284436 h 306895"/>
                      <a:gd name="connsiteX1" fmla="*/ 190652 w 190652"/>
                      <a:gd name="connsiteY1" fmla="*/ 306896 h 306895"/>
                      <a:gd name="connsiteX2" fmla="*/ 190652 w 190652"/>
                      <a:gd name="connsiteY2" fmla="*/ 31547 h 306895"/>
                      <a:gd name="connsiteX3" fmla="*/ 100213 w 190652"/>
                      <a:gd name="connsiteY3" fmla="*/ 21946 h 306895"/>
                      <a:gd name="connsiteX4" fmla="*/ 100213 w 190652"/>
                      <a:gd name="connsiteY4" fmla="*/ 21860 h 306895"/>
                      <a:gd name="connsiteX5" fmla="*/ 90526 w 190652"/>
                      <a:gd name="connsiteY5" fmla="*/ 21860 h 306895"/>
                      <a:gd name="connsiteX6" fmla="*/ 90526 w 190652"/>
                      <a:gd name="connsiteY6" fmla="*/ 22289 h 306895"/>
                      <a:gd name="connsiteX7" fmla="*/ 0 w 190652"/>
                      <a:gd name="connsiteY7" fmla="*/ 0 h 306895"/>
                      <a:gd name="connsiteX8" fmla="*/ 0 w 190652"/>
                      <a:gd name="connsiteY8" fmla="*/ 275520 h 306895"/>
                      <a:gd name="connsiteX9" fmla="*/ 95240 w 190652"/>
                      <a:gd name="connsiteY9" fmla="*/ 285036 h 306895"/>
                      <a:gd name="connsiteX10" fmla="*/ 95412 w 190652"/>
                      <a:gd name="connsiteY10" fmla="*/ 284436 h 306895"/>
                      <a:gd name="connsiteX11" fmla="*/ 95412 w 190652"/>
                      <a:gd name="connsiteY11" fmla="*/ 284436 h 306895"/>
                      <a:gd name="connsiteX12" fmla="*/ 95412 w 190652"/>
                      <a:gd name="connsiteY12" fmla="*/ 284436 h 30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652" h="306895">
                        <a:moveTo>
                          <a:pt x="95412" y="284436"/>
                        </a:moveTo>
                        <a:cubicBezTo>
                          <a:pt x="129616" y="284436"/>
                          <a:pt x="162020" y="292579"/>
                          <a:pt x="190652" y="306896"/>
                        </a:cubicBezTo>
                        <a:lnTo>
                          <a:pt x="190652" y="31547"/>
                        </a:lnTo>
                        <a:cubicBezTo>
                          <a:pt x="161420" y="25632"/>
                          <a:pt x="131159" y="22289"/>
                          <a:pt x="100213" y="21946"/>
                        </a:cubicBezTo>
                        <a:lnTo>
                          <a:pt x="100213" y="21860"/>
                        </a:lnTo>
                        <a:lnTo>
                          <a:pt x="90526" y="21860"/>
                        </a:lnTo>
                        <a:lnTo>
                          <a:pt x="90526" y="22289"/>
                        </a:lnTo>
                        <a:cubicBezTo>
                          <a:pt x="58036" y="21603"/>
                          <a:pt x="27346" y="13630"/>
                          <a:pt x="0" y="0"/>
                        </a:cubicBezTo>
                        <a:lnTo>
                          <a:pt x="0" y="275520"/>
                        </a:lnTo>
                        <a:cubicBezTo>
                          <a:pt x="30775" y="281778"/>
                          <a:pt x="62665" y="285036"/>
                          <a:pt x="95240" y="285036"/>
                        </a:cubicBezTo>
                        <a:lnTo>
                          <a:pt x="95412" y="284436"/>
                        </a:lnTo>
                        <a:lnTo>
                          <a:pt x="95412" y="284436"/>
                        </a:lnTo>
                        <a:lnTo>
                          <a:pt x="95412" y="284436"/>
                        </a:lnTo>
                        <a:close/>
                      </a:path>
                    </a:pathLst>
                  </a:custGeom>
                  <a:solidFill>
                    <a:srgbClr val="00B050"/>
                  </a:solidFill>
                  <a:ln w="8572" cap="flat">
                    <a:noFill/>
                    <a:prstDash val="solid"/>
                    <a:miter/>
                  </a:ln>
                </p:spPr>
                <p:txBody>
                  <a:bodyPr rtlCol="0" anchor="ctr"/>
                  <a:lstStyle/>
                  <a:p>
                    <a:endParaRPr lang="en-US"/>
                  </a:p>
                </p:txBody>
              </p:sp>
              <p:sp>
                <p:nvSpPr>
                  <p:cNvPr id="91" name="Freeform 29">
                    <a:extLst>
                      <a:ext uri="{FF2B5EF4-FFF2-40B4-BE49-F238E27FC236}">
                        <a16:creationId xmlns:a16="http://schemas.microsoft.com/office/drawing/2014/main" id="{4D85466A-DD43-B983-4BC6-BB503D88AFB8}"/>
                      </a:ext>
                    </a:extLst>
                  </p:cNvPr>
                  <p:cNvSpPr/>
                  <p:nvPr/>
                </p:nvSpPr>
                <p:spPr>
                  <a:xfrm>
                    <a:off x="6020990" y="3257978"/>
                    <a:ext cx="190652" cy="306895"/>
                  </a:xfrm>
                  <a:custGeom>
                    <a:avLst/>
                    <a:gdLst>
                      <a:gd name="connsiteX0" fmla="*/ 95412 w 190652"/>
                      <a:gd name="connsiteY0" fmla="*/ 284436 h 306895"/>
                      <a:gd name="connsiteX1" fmla="*/ 190652 w 190652"/>
                      <a:gd name="connsiteY1" fmla="*/ 306896 h 306895"/>
                      <a:gd name="connsiteX2" fmla="*/ 190652 w 190652"/>
                      <a:gd name="connsiteY2" fmla="*/ 31547 h 306895"/>
                      <a:gd name="connsiteX3" fmla="*/ 100213 w 190652"/>
                      <a:gd name="connsiteY3" fmla="*/ 21946 h 306895"/>
                      <a:gd name="connsiteX4" fmla="*/ 100213 w 190652"/>
                      <a:gd name="connsiteY4" fmla="*/ 21860 h 306895"/>
                      <a:gd name="connsiteX5" fmla="*/ 90526 w 190652"/>
                      <a:gd name="connsiteY5" fmla="*/ 21860 h 306895"/>
                      <a:gd name="connsiteX6" fmla="*/ 90526 w 190652"/>
                      <a:gd name="connsiteY6" fmla="*/ 22289 h 306895"/>
                      <a:gd name="connsiteX7" fmla="*/ 0 w 190652"/>
                      <a:gd name="connsiteY7" fmla="*/ 0 h 306895"/>
                      <a:gd name="connsiteX8" fmla="*/ 0 w 190652"/>
                      <a:gd name="connsiteY8" fmla="*/ 275520 h 306895"/>
                      <a:gd name="connsiteX9" fmla="*/ 95240 w 190652"/>
                      <a:gd name="connsiteY9" fmla="*/ 285036 h 306895"/>
                      <a:gd name="connsiteX10" fmla="*/ 95412 w 190652"/>
                      <a:gd name="connsiteY10" fmla="*/ 284436 h 306895"/>
                      <a:gd name="connsiteX11" fmla="*/ 95412 w 190652"/>
                      <a:gd name="connsiteY11" fmla="*/ 284436 h 306895"/>
                      <a:gd name="connsiteX12" fmla="*/ 95412 w 190652"/>
                      <a:gd name="connsiteY12" fmla="*/ 284436 h 30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652" h="306895">
                        <a:moveTo>
                          <a:pt x="95412" y="284436"/>
                        </a:moveTo>
                        <a:cubicBezTo>
                          <a:pt x="129616" y="284436"/>
                          <a:pt x="162020" y="292579"/>
                          <a:pt x="190652" y="306896"/>
                        </a:cubicBezTo>
                        <a:lnTo>
                          <a:pt x="190652" y="31547"/>
                        </a:lnTo>
                        <a:cubicBezTo>
                          <a:pt x="161420" y="25632"/>
                          <a:pt x="131159" y="22289"/>
                          <a:pt x="100213" y="21946"/>
                        </a:cubicBezTo>
                        <a:lnTo>
                          <a:pt x="100213" y="21860"/>
                        </a:lnTo>
                        <a:lnTo>
                          <a:pt x="90526" y="21860"/>
                        </a:lnTo>
                        <a:lnTo>
                          <a:pt x="90526" y="22289"/>
                        </a:lnTo>
                        <a:cubicBezTo>
                          <a:pt x="58036" y="21603"/>
                          <a:pt x="27346" y="13631"/>
                          <a:pt x="0" y="0"/>
                        </a:cubicBezTo>
                        <a:lnTo>
                          <a:pt x="0" y="275520"/>
                        </a:lnTo>
                        <a:cubicBezTo>
                          <a:pt x="30775" y="281778"/>
                          <a:pt x="62665" y="285036"/>
                          <a:pt x="95240" y="285036"/>
                        </a:cubicBezTo>
                        <a:lnTo>
                          <a:pt x="95412" y="284436"/>
                        </a:lnTo>
                        <a:lnTo>
                          <a:pt x="95412" y="284436"/>
                        </a:lnTo>
                        <a:lnTo>
                          <a:pt x="95412" y="284436"/>
                        </a:lnTo>
                        <a:close/>
                      </a:path>
                    </a:pathLst>
                  </a:custGeom>
                  <a:solidFill>
                    <a:srgbClr val="FFC000"/>
                  </a:solidFill>
                  <a:ln w="8572" cap="flat">
                    <a:noFill/>
                    <a:prstDash val="solid"/>
                    <a:miter/>
                  </a:ln>
                </p:spPr>
                <p:txBody>
                  <a:bodyPr rtlCol="0" anchor="ctr"/>
                  <a:lstStyle/>
                  <a:p>
                    <a:endParaRPr lang="en-US"/>
                  </a:p>
                </p:txBody>
              </p:sp>
              <p:sp>
                <p:nvSpPr>
                  <p:cNvPr id="92" name="Freeform 30">
                    <a:extLst>
                      <a:ext uri="{FF2B5EF4-FFF2-40B4-BE49-F238E27FC236}">
                        <a16:creationId xmlns:a16="http://schemas.microsoft.com/office/drawing/2014/main" id="{CAB9EDEA-7145-C6D2-8D27-EF40AFC7F4B4}"/>
                      </a:ext>
                    </a:extLst>
                  </p:cNvPr>
                  <p:cNvSpPr/>
                  <p:nvPr/>
                </p:nvSpPr>
                <p:spPr>
                  <a:xfrm>
                    <a:off x="6020990" y="4641322"/>
                    <a:ext cx="190652" cy="306895"/>
                  </a:xfrm>
                  <a:custGeom>
                    <a:avLst/>
                    <a:gdLst>
                      <a:gd name="connsiteX0" fmla="*/ 95412 w 190652"/>
                      <a:gd name="connsiteY0" fmla="*/ 284436 h 306895"/>
                      <a:gd name="connsiteX1" fmla="*/ 190652 w 190652"/>
                      <a:gd name="connsiteY1" fmla="*/ 306895 h 306895"/>
                      <a:gd name="connsiteX2" fmla="*/ 190652 w 190652"/>
                      <a:gd name="connsiteY2" fmla="*/ 31547 h 306895"/>
                      <a:gd name="connsiteX3" fmla="*/ 100213 w 190652"/>
                      <a:gd name="connsiteY3" fmla="*/ 21946 h 306895"/>
                      <a:gd name="connsiteX4" fmla="*/ 100213 w 190652"/>
                      <a:gd name="connsiteY4" fmla="*/ 21860 h 306895"/>
                      <a:gd name="connsiteX5" fmla="*/ 90526 w 190652"/>
                      <a:gd name="connsiteY5" fmla="*/ 21860 h 306895"/>
                      <a:gd name="connsiteX6" fmla="*/ 90526 w 190652"/>
                      <a:gd name="connsiteY6" fmla="*/ 22289 h 306895"/>
                      <a:gd name="connsiteX7" fmla="*/ 0 w 190652"/>
                      <a:gd name="connsiteY7" fmla="*/ 0 h 306895"/>
                      <a:gd name="connsiteX8" fmla="*/ 0 w 190652"/>
                      <a:gd name="connsiteY8" fmla="*/ 275520 h 306895"/>
                      <a:gd name="connsiteX9" fmla="*/ 95240 w 190652"/>
                      <a:gd name="connsiteY9" fmla="*/ 285036 h 306895"/>
                      <a:gd name="connsiteX10" fmla="*/ 95412 w 190652"/>
                      <a:gd name="connsiteY10" fmla="*/ 284436 h 306895"/>
                      <a:gd name="connsiteX11" fmla="*/ 95412 w 190652"/>
                      <a:gd name="connsiteY11" fmla="*/ 284436 h 306895"/>
                      <a:gd name="connsiteX12" fmla="*/ 95412 w 190652"/>
                      <a:gd name="connsiteY12" fmla="*/ 284436 h 30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652" h="306895">
                        <a:moveTo>
                          <a:pt x="95412" y="284436"/>
                        </a:moveTo>
                        <a:cubicBezTo>
                          <a:pt x="129616" y="284436"/>
                          <a:pt x="162020" y="292579"/>
                          <a:pt x="190652" y="306895"/>
                        </a:cubicBezTo>
                        <a:lnTo>
                          <a:pt x="190652" y="31547"/>
                        </a:lnTo>
                        <a:cubicBezTo>
                          <a:pt x="161420" y="25632"/>
                          <a:pt x="131159" y="22289"/>
                          <a:pt x="100213" y="21946"/>
                        </a:cubicBezTo>
                        <a:lnTo>
                          <a:pt x="100213" y="21860"/>
                        </a:lnTo>
                        <a:lnTo>
                          <a:pt x="90526" y="21860"/>
                        </a:lnTo>
                        <a:lnTo>
                          <a:pt x="90526" y="22289"/>
                        </a:lnTo>
                        <a:cubicBezTo>
                          <a:pt x="58036" y="21603"/>
                          <a:pt x="27346" y="13631"/>
                          <a:pt x="0" y="0"/>
                        </a:cubicBezTo>
                        <a:lnTo>
                          <a:pt x="0" y="275520"/>
                        </a:lnTo>
                        <a:cubicBezTo>
                          <a:pt x="30775" y="281778"/>
                          <a:pt x="62665" y="285036"/>
                          <a:pt x="95240" y="285036"/>
                        </a:cubicBezTo>
                        <a:lnTo>
                          <a:pt x="95412" y="284436"/>
                        </a:lnTo>
                        <a:lnTo>
                          <a:pt x="95412" y="284436"/>
                        </a:lnTo>
                        <a:lnTo>
                          <a:pt x="95412" y="284436"/>
                        </a:lnTo>
                        <a:close/>
                      </a:path>
                    </a:pathLst>
                  </a:custGeom>
                  <a:solidFill>
                    <a:srgbClr val="7030A0"/>
                  </a:solidFill>
                  <a:ln w="8572" cap="flat">
                    <a:noFill/>
                    <a:prstDash val="solid"/>
                    <a:miter/>
                  </a:ln>
                </p:spPr>
                <p:txBody>
                  <a:bodyPr rtlCol="0" anchor="ctr"/>
                  <a:lstStyle/>
                  <a:p>
                    <a:endParaRPr lang="en-US"/>
                  </a:p>
                </p:txBody>
              </p:sp>
              <p:sp>
                <p:nvSpPr>
                  <p:cNvPr id="93" name="Freeform 31">
                    <a:extLst>
                      <a:ext uri="{FF2B5EF4-FFF2-40B4-BE49-F238E27FC236}">
                        <a16:creationId xmlns:a16="http://schemas.microsoft.com/office/drawing/2014/main" id="{FEFAC8DB-8936-4822-8939-66D06B687846}"/>
                      </a:ext>
                    </a:extLst>
                  </p:cNvPr>
                  <p:cNvSpPr/>
                  <p:nvPr/>
                </p:nvSpPr>
                <p:spPr>
                  <a:xfrm>
                    <a:off x="6020990" y="2563863"/>
                    <a:ext cx="190652" cy="306895"/>
                  </a:xfrm>
                  <a:custGeom>
                    <a:avLst/>
                    <a:gdLst>
                      <a:gd name="connsiteX0" fmla="*/ 95412 w 190652"/>
                      <a:gd name="connsiteY0" fmla="*/ 284436 h 306895"/>
                      <a:gd name="connsiteX1" fmla="*/ 190652 w 190652"/>
                      <a:gd name="connsiteY1" fmla="*/ 306896 h 306895"/>
                      <a:gd name="connsiteX2" fmla="*/ 190652 w 190652"/>
                      <a:gd name="connsiteY2" fmla="*/ 31547 h 306895"/>
                      <a:gd name="connsiteX3" fmla="*/ 100213 w 190652"/>
                      <a:gd name="connsiteY3" fmla="*/ 21946 h 306895"/>
                      <a:gd name="connsiteX4" fmla="*/ 100213 w 190652"/>
                      <a:gd name="connsiteY4" fmla="*/ 21860 h 306895"/>
                      <a:gd name="connsiteX5" fmla="*/ 90526 w 190652"/>
                      <a:gd name="connsiteY5" fmla="*/ 21860 h 306895"/>
                      <a:gd name="connsiteX6" fmla="*/ 90526 w 190652"/>
                      <a:gd name="connsiteY6" fmla="*/ 22289 h 306895"/>
                      <a:gd name="connsiteX7" fmla="*/ 0 w 190652"/>
                      <a:gd name="connsiteY7" fmla="*/ 0 h 306895"/>
                      <a:gd name="connsiteX8" fmla="*/ 0 w 190652"/>
                      <a:gd name="connsiteY8" fmla="*/ 275520 h 306895"/>
                      <a:gd name="connsiteX9" fmla="*/ 95240 w 190652"/>
                      <a:gd name="connsiteY9" fmla="*/ 285036 h 306895"/>
                      <a:gd name="connsiteX10" fmla="*/ 95412 w 190652"/>
                      <a:gd name="connsiteY10" fmla="*/ 284436 h 306895"/>
                      <a:gd name="connsiteX11" fmla="*/ 95412 w 190652"/>
                      <a:gd name="connsiteY11" fmla="*/ 284436 h 306895"/>
                      <a:gd name="connsiteX12" fmla="*/ 95412 w 190652"/>
                      <a:gd name="connsiteY12" fmla="*/ 284436 h 30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652" h="306895">
                        <a:moveTo>
                          <a:pt x="95412" y="284436"/>
                        </a:moveTo>
                        <a:cubicBezTo>
                          <a:pt x="129616" y="284436"/>
                          <a:pt x="162020" y="292579"/>
                          <a:pt x="190652" y="306896"/>
                        </a:cubicBezTo>
                        <a:lnTo>
                          <a:pt x="190652" y="31547"/>
                        </a:lnTo>
                        <a:cubicBezTo>
                          <a:pt x="161420" y="25632"/>
                          <a:pt x="131159" y="22289"/>
                          <a:pt x="100213" y="21946"/>
                        </a:cubicBezTo>
                        <a:lnTo>
                          <a:pt x="100213" y="21860"/>
                        </a:lnTo>
                        <a:lnTo>
                          <a:pt x="90526" y="21860"/>
                        </a:lnTo>
                        <a:lnTo>
                          <a:pt x="90526" y="22289"/>
                        </a:lnTo>
                        <a:cubicBezTo>
                          <a:pt x="58036" y="21603"/>
                          <a:pt x="27346" y="13631"/>
                          <a:pt x="0" y="0"/>
                        </a:cubicBezTo>
                        <a:lnTo>
                          <a:pt x="0" y="275520"/>
                        </a:lnTo>
                        <a:cubicBezTo>
                          <a:pt x="30775" y="281778"/>
                          <a:pt x="62665" y="285036"/>
                          <a:pt x="95240" y="285036"/>
                        </a:cubicBezTo>
                        <a:lnTo>
                          <a:pt x="95412" y="284436"/>
                        </a:lnTo>
                        <a:lnTo>
                          <a:pt x="95412" y="284436"/>
                        </a:lnTo>
                        <a:lnTo>
                          <a:pt x="95412" y="284436"/>
                        </a:lnTo>
                        <a:close/>
                      </a:path>
                    </a:pathLst>
                  </a:custGeom>
                  <a:solidFill>
                    <a:srgbClr val="002060"/>
                  </a:solidFill>
                  <a:ln w="8572" cap="flat">
                    <a:noFill/>
                    <a:prstDash val="solid"/>
                    <a:miter/>
                  </a:ln>
                </p:spPr>
                <p:txBody>
                  <a:bodyPr rtlCol="0" anchor="ctr"/>
                  <a:lstStyle/>
                  <a:p>
                    <a:endParaRPr lang="en-US"/>
                  </a:p>
                </p:txBody>
              </p:sp>
              <p:sp>
                <p:nvSpPr>
                  <p:cNvPr id="94" name="Freeform 32">
                    <a:extLst>
                      <a:ext uri="{FF2B5EF4-FFF2-40B4-BE49-F238E27FC236}">
                        <a16:creationId xmlns:a16="http://schemas.microsoft.com/office/drawing/2014/main" id="{98B8D271-2A63-81B4-0D6A-5238B71E6D5B}"/>
                      </a:ext>
                    </a:extLst>
                  </p:cNvPr>
                  <p:cNvSpPr/>
                  <p:nvPr/>
                </p:nvSpPr>
                <p:spPr>
                  <a:xfrm>
                    <a:off x="6020990" y="3948836"/>
                    <a:ext cx="190652" cy="306895"/>
                  </a:xfrm>
                  <a:custGeom>
                    <a:avLst/>
                    <a:gdLst>
                      <a:gd name="connsiteX0" fmla="*/ 95412 w 190652"/>
                      <a:gd name="connsiteY0" fmla="*/ 284436 h 306895"/>
                      <a:gd name="connsiteX1" fmla="*/ 190652 w 190652"/>
                      <a:gd name="connsiteY1" fmla="*/ 306895 h 306895"/>
                      <a:gd name="connsiteX2" fmla="*/ 190652 w 190652"/>
                      <a:gd name="connsiteY2" fmla="*/ 31547 h 306895"/>
                      <a:gd name="connsiteX3" fmla="*/ 100213 w 190652"/>
                      <a:gd name="connsiteY3" fmla="*/ 21946 h 306895"/>
                      <a:gd name="connsiteX4" fmla="*/ 100213 w 190652"/>
                      <a:gd name="connsiteY4" fmla="*/ 21860 h 306895"/>
                      <a:gd name="connsiteX5" fmla="*/ 90526 w 190652"/>
                      <a:gd name="connsiteY5" fmla="*/ 21860 h 306895"/>
                      <a:gd name="connsiteX6" fmla="*/ 90526 w 190652"/>
                      <a:gd name="connsiteY6" fmla="*/ 22288 h 306895"/>
                      <a:gd name="connsiteX7" fmla="*/ 0 w 190652"/>
                      <a:gd name="connsiteY7" fmla="*/ 0 h 306895"/>
                      <a:gd name="connsiteX8" fmla="*/ 0 w 190652"/>
                      <a:gd name="connsiteY8" fmla="*/ 275520 h 306895"/>
                      <a:gd name="connsiteX9" fmla="*/ 95240 w 190652"/>
                      <a:gd name="connsiteY9" fmla="*/ 285036 h 306895"/>
                      <a:gd name="connsiteX10" fmla="*/ 95412 w 190652"/>
                      <a:gd name="connsiteY10" fmla="*/ 284436 h 306895"/>
                      <a:gd name="connsiteX11" fmla="*/ 95412 w 190652"/>
                      <a:gd name="connsiteY11" fmla="*/ 284436 h 306895"/>
                      <a:gd name="connsiteX12" fmla="*/ 95412 w 190652"/>
                      <a:gd name="connsiteY12" fmla="*/ 284436 h 30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652" h="306895">
                        <a:moveTo>
                          <a:pt x="95412" y="284436"/>
                        </a:moveTo>
                        <a:cubicBezTo>
                          <a:pt x="129616" y="284436"/>
                          <a:pt x="162020" y="292579"/>
                          <a:pt x="190652" y="306895"/>
                        </a:cubicBezTo>
                        <a:lnTo>
                          <a:pt x="190652" y="31547"/>
                        </a:lnTo>
                        <a:cubicBezTo>
                          <a:pt x="161420" y="25632"/>
                          <a:pt x="131159" y="22288"/>
                          <a:pt x="100213" y="21946"/>
                        </a:cubicBezTo>
                        <a:lnTo>
                          <a:pt x="100213" y="21860"/>
                        </a:lnTo>
                        <a:lnTo>
                          <a:pt x="90526" y="21860"/>
                        </a:lnTo>
                        <a:lnTo>
                          <a:pt x="90526" y="22288"/>
                        </a:lnTo>
                        <a:cubicBezTo>
                          <a:pt x="58036" y="21603"/>
                          <a:pt x="27346" y="13630"/>
                          <a:pt x="0" y="0"/>
                        </a:cubicBezTo>
                        <a:lnTo>
                          <a:pt x="0" y="275520"/>
                        </a:lnTo>
                        <a:cubicBezTo>
                          <a:pt x="30775" y="281778"/>
                          <a:pt x="62665" y="285036"/>
                          <a:pt x="95240" y="285036"/>
                        </a:cubicBezTo>
                        <a:lnTo>
                          <a:pt x="95412" y="284436"/>
                        </a:lnTo>
                        <a:lnTo>
                          <a:pt x="95412" y="284436"/>
                        </a:lnTo>
                        <a:lnTo>
                          <a:pt x="95412" y="284436"/>
                        </a:lnTo>
                        <a:close/>
                      </a:path>
                    </a:pathLst>
                  </a:custGeom>
                  <a:solidFill>
                    <a:srgbClr val="7030A0"/>
                  </a:solidFill>
                  <a:ln w="8572" cap="flat">
                    <a:noFill/>
                    <a:prstDash val="solid"/>
                    <a:miter/>
                  </a:ln>
                </p:spPr>
                <p:txBody>
                  <a:bodyPr rtlCol="0" anchor="ctr"/>
                  <a:lstStyle/>
                  <a:p>
                    <a:endParaRPr lang="en-US"/>
                  </a:p>
                </p:txBody>
              </p:sp>
              <p:sp>
                <p:nvSpPr>
                  <p:cNvPr id="95" name="Freeform 33">
                    <a:extLst>
                      <a:ext uri="{FF2B5EF4-FFF2-40B4-BE49-F238E27FC236}">
                        <a16:creationId xmlns:a16="http://schemas.microsoft.com/office/drawing/2014/main" id="{D6FEE10E-B3AC-29CB-E837-F2D1A0703865}"/>
                      </a:ext>
                    </a:extLst>
                  </p:cNvPr>
                  <p:cNvSpPr/>
                  <p:nvPr/>
                </p:nvSpPr>
                <p:spPr>
                  <a:xfrm rot="20249974">
                    <a:off x="5843211" y="1403545"/>
                    <a:ext cx="538709" cy="538709"/>
                  </a:xfrm>
                  <a:custGeom>
                    <a:avLst/>
                    <a:gdLst>
                      <a:gd name="connsiteX0" fmla="*/ 538710 w 538709"/>
                      <a:gd name="connsiteY0" fmla="*/ 269355 h 538709"/>
                      <a:gd name="connsiteX1" fmla="*/ 269355 w 538709"/>
                      <a:gd name="connsiteY1" fmla="*/ 538709 h 538709"/>
                      <a:gd name="connsiteX2" fmla="*/ 0 w 538709"/>
                      <a:gd name="connsiteY2" fmla="*/ 269355 h 538709"/>
                      <a:gd name="connsiteX3" fmla="*/ 269355 w 538709"/>
                      <a:gd name="connsiteY3" fmla="*/ 0 h 538709"/>
                      <a:gd name="connsiteX4" fmla="*/ 538710 w 538709"/>
                      <a:gd name="connsiteY4" fmla="*/ 269355 h 538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709" h="538709">
                        <a:moveTo>
                          <a:pt x="538710" y="269355"/>
                        </a:moveTo>
                        <a:cubicBezTo>
                          <a:pt x="538710" y="418115"/>
                          <a:pt x="418115" y="538709"/>
                          <a:pt x="269355" y="538709"/>
                        </a:cubicBezTo>
                        <a:cubicBezTo>
                          <a:pt x="120594" y="538709"/>
                          <a:pt x="0" y="418115"/>
                          <a:pt x="0" y="269355"/>
                        </a:cubicBezTo>
                        <a:cubicBezTo>
                          <a:pt x="0" y="120594"/>
                          <a:pt x="120594" y="0"/>
                          <a:pt x="269355" y="0"/>
                        </a:cubicBezTo>
                        <a:cubicBezTo>
                          <a:pt x="418115" y="0"/>
                          <a:pt x="538710" y="120594"/>
                          <a:pt x="538710" y="269355"/>
                        </a:cubicBezTo>
                        <a:close/>
                      </a:path>
                    </a:pathLst>
                  </a:custGeom>
                  <a:solidFill>
                    <a:srgbClr val="FFFFFF"/>
                  </a:solidFill>
                  <a:ln w="8572" cap="flat">
                    <a:noFill/>
                    <a:prstDash val="solid"/>
                    <a:miter/>
                  </a:ln>
                </p:spPr>
                <p:txBody>
                  <a:bodyPr rtlCol="0" anchor="ctr"/>
                  <a:lstStyle/>
                  <a:p>
                    <a:endParaRPr lang="en-US"/>
                  </a:p>
                </p:txBody>
              </p:sp>
              <p:sp>
                <p:nvSpPr>
                  <p:cNvPr id="96" name="Freeform 34">
                    <a:extLst>
                      <a:ext uri="{FF2B5EF4-FFF2-40B4-BE49-F238E27FC236}">
                        <a16:creationId xmlns:a16="http://schemas.microsoft.com/office/drawing/2014/main" id="{DDAE0171-74AA-60C2-8553-931475E1B956}"/>
                      </a:ext>
                    </a:extLst>
                  </p:cNvPr>
                  <p:cNvSpPr/>
                  <p:nvPr/>
                </p:nvSpPr>
                <p:spPr>
                  <a:xfrm rot="16753102">
                    <a:off x="5843230" y="2105873"/>
                    <a:ext cx="538704" cy="538704"/>
                  </a:xfrm>
                  <a:custGeom>
                    <a:avLst/>
                    <a:gdLst>
                      <a:gd name="connsiteX0" fmla="*/ 538704 w 538704"/>
                      <a:gd name="connsiteY0" fmla="*/ 269352 h 538704"/>
                      <a:gd name="connsiteX1" fmla="*/ 269352 w 538704"/>
                      <a:gd name="connsiteY1" fmla="*/ 538704 h 538704"/>
                      <a:gd name="connsiteX2" fmla="*/ 0 w 538704"/>
                      <a:gd name="connsiteY2" fmla="*/ 269352 h 538704"/>
                      <a:gd name="connsiteX3" fmla="*/ 269352 w 538704"/>
                      <a:gd name="connsiteY3" fmla="*/ 0 h 538704"/>
                      <a:gd name="connsiteX4" fmla="*/ 538704 w 538704"/>
                      <a:gd name="connsiteY4" fmla="*/ 269352 h 538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704" h="538704">
                        <a:moveTo>
                          <a:pt x="538704" y="269352"/>
                        </a:moveTo>
                        <a:cubicBezTo>
                          <a:pt x="538704" y="418111"/>
                          <a:pt x="418111" y="538704"/>
                          <a:pt x="269352" y="538704"/>
                        </a:cubicBezTo>
                        <a:cubicBezTo>
                          <a:pt x="120593" y="538704"/>
                          <a:pt x="0" y="418111"/>
                          <a:pt x="0" y="269352"/>
                        </a:cubicBezTo>
                        <a:cubicBezTo>
                          <a:pt x="0" y="120593"/>
                          <a:pt x="120593" y="0"/>
                          <a:pt x="269352" y="0"/>
                        </a:cubicBezTo>
                        <a:cubicBezTo>
                          <a:pt x="418111" y="0"/>
                          <a:pt x="538704" y="120593"/>
                          <a:pt x="538704" y="269352"/>
                        </a:cubicBezTo>
                        <a:close/>
                      </a:path>
                    </a:pathLst>
                  </a:custGeom>
                  <a:solidFill>
                    <a:srgbClr val="FFFFFF"/>
                  </a:solidFill>
                  <a:ln w="8572" cap="flat">
                    <a:noFill/>
                    <a:prstDash val="solid"/>
                    <a:miter/>
                  </a:ln>
                </p:spPr>
                <p:txBody>
                  <a:bodyPr rtlCol="0" anchor="ctr"/>
                  <a:lstStyle/>
                  <a:p>
                    <a:endParaRPr lang="en-US"/>
                  </a:p>
                </p:txBody>
              </p:sp>
              <p:sp>
                <p:nvSpPr>
                  <p:cNvPr id="97" name="Freeform 35">
                    <a:extLst>
                      <a:ext uri="{FF2B5EF4-FFF2-40B4-BE49-F238E27FC236}">
                        <a16:creationId xmlns:a16="http://schemas.microsoft.com/office/drawing/2014/main" id="{33EC0059-D6A5-E648-278C-74BCDBF532C1}"/>
                      </a:ext>
                    </a:extLst>
                  </p:cNvPr>
                  <p:cNvSpPr/>
                  <p:nvPr/>
                </p:nvSpPr>
                <p:spPr>
                  <a:xfrm>
                    <a:off x="5843111" y="2808179"/>
                    <a:ext cx="538695" cy="538695"/>
                  </a:xfrm>
                  <a:custGeom>
                    <a:avLst/>
                    <a:gdLst>
                      <a:gd name="connsiteX0" fmla="*/ 538696 w 538695"/>
                      <a:gd name="connsiteY0" fmla="*/ 269348 h 538695"/>
                      <a:gd name="connsiteX1" fmla="*/ 269348 w 538695"/>
                      <a:gd name="connsiteY1" fmla="*/ 538696 h 538695"/>
                      <a:gd name="connsiteX2" fmla="*/ 0 w 538695"/>
                      <a:gd name="connsiteY2" fmla="*/ 269348 h 538695"/>
                      <a:gd name="connsiteX3" fmla="*/ 269348 w 538695"/>
                      <a:gd name="connsiteY3" fmla="*/ 0 h 538695"/>
                      <a:gd name="connsiteX4" fmla="*/ 538696 w 538695"/>
                      <a:gd name="connsiteY4" fmla="*/ 269348 h 538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695" h="538695">
                        <a:moveTo>
                          <a:pt x="538696" y="269348"/>
                        </a:moveTo>
                        <a:cubicBezTo>
                          <a:pt x="538696" y="418105"/>
                          <a:pt x="418105" y="538696"/>
                          <a:pt x="269348" y="538696"/>
                        </a:cubicBezTo>
                        <a:cubicBezTo>
                          <a:pt x="120591" y="538696"/>
                          <a:pt x="0" y="418105"/>
                          <a:pt x="0" y="269348"/>
                        </a:cubicBezTo>
                        <a:cubicBezTo>
                          <a:pt x="0" y="120591"/>
                          <a:pt x="120591" y="0"/>
                          <a:pt x="269348" y="0"/>
                        </a:cubicBezTo>
                        <a:cubicBezTo>
                          <a:pt x="418105" y="0"/>
                          <a:pt x="538696" y="120591"/>
                          <a:pt x="538696" y="269348"/>
                        </a:cubicBezTo>
                        <a:close/>
                      </a:path>
                    </a:pathLst>
                  </a:custGeom>
                  <a:solidFill>
                    <a:srgbClr val="FFFFFF"/>
                  </a:solidFill>
                  <a:ln w="8572" cap="flat">
                    <a:noFill/>
                    <a:prstDash val="solid"/>
                    <a:miter/>
                  </a:ln>
                </p:spPr>
                <p:txBody>
                  <a:bodyPr rtlCol="0" anchor="ctr"/>
                  <a:lstStyle/>
                  <a:p>
                    <a:endParaRPr lang="en-US"/>
                  </a:p>
                </p:txBody>
              </p:sp>
              <p:sp>
                <p:nvSpPr>
                  <p:cNvPr id="98" name="Freeform 36">
                    <a:extLst>
                      <a:ext uri="{FF2B5EF4-FFF2-40B4-BE49-F238E27FC236}">
                        <a16:creationId xmlns:a16="http://schemas.microsoft.com/office/drawing/2014/main" id="{FB37A40A-8742-D022-692F-E8ADDF352A3A}"/>
                      </a:ext>
                    </a:extLst>
                  </p:cNvPr>
                  <p:cNvSpPr/>
                  <p:nvPr/>
                </p:nvSpPr>
                <p:spPr>
                  <a:xfrm>
                    <a:off x="5843111" y="3510524"/>
                    <a:ext cx="538695" cy="538695"/>
                  </a:xfrm>
                  <a:custGeom>
                    <a:avLst/>
                    <a:gdLst>
                      <a:gd name="connsiteX0" fmla="*/ 538696 w 538695"/>
                      <a:gd name="connsiteY0" fmla="*/ 269348 h 538695"/>
                      <a:gd name="connsiteX1" fmla="*/ 269348 w 538695"/>
                      <a:gd name="connsiteY1" fmla="*/ 538696 h 538695"/>
                      <a:gd name="connsiteX2" fmla="*/ 0 w 538695"/>
                      <a:gd name="connsiteY2" fmla="*/ 269348 h 538695"/>
                      <a:gd name="connsiteX3" fmla="*/ 269348 w 538695"/>
                      <a:gd name="connsiteY3" fmla="*/ 0 h 538695"/>
                      <a:gd name="connsiteX4" fmla="*/ 538696 w 538695"/>
                      <a:gd name="connsiteY4" fmla="*/ 269348 h 538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695" h="538695">
                        <a:moveTo>
                          <a:pt x="538696" y="269348"/>
                        </a:moveTo>
                        <a:cubicBezTo>
                          <a:pt x="538696" y="418105"/>
                          <a:pt x="418105" y="538696"/>
                          <a:pt x="269348" y="538696"/>
                        </a:cubicBezTo>
                        <a:cubicBezTo>
                          <a:pt x="120591" y="538696"/>
                          <a:pt x="0" y="418105"/>
                          <a:pt x="0" y="269348"/>
                        </a:cubicBezTo>
                        <a:cubicBezTo>
                          <a:pt x="0" y="120591"/>
                          <a:pt x="120591" y="0"/>
                          <a:pt x="269348" y="0"/>
                        </a:cubicBezTo>
                        <a:cubicBezTo>
                          <a:pt x="418105" y="0"/>
                          <a:pt x="538696" y="120591"/>
                          <a:pt x="538696" y="269348"/>
                        </a:cubicBezTo>
                        <a:close/>
                      </a:path>
                    </a:pathLst>
                  </a:custGeom>
                  <a:solidFill>
                    <a:srgbClr val="FFFFFF"/>
                  </a:solidFill>
                  <a:ln w="8572" cap="flat">
                    <a:noFill/>
                    <a:prstDash val="solid"/>
                    <a:miter/>
                  </a:ln>
                </p:spPr>
                <p:txBody>
                  <a:bodyPr rtlCol="0" anchor="ctr"/>
                  <a:lstStyle/>
                  <a:p>
                    <a:endParaRPr lang="en-US"/>
                  </a:p>
                </p:txBody>
              </p:sp>
              <p:sp>
                <p:nvSpPr>
                  <p:cNvPr id="99" name="Freeform 37">
                    <a:extLst>
                      <a:ext uri="{FF2B5EF4-FFF2-40B4-BE49-F238E27FC236}">
                        <a16:creationId xmlns:a16="http://schemas.microsoft.com/office/drawing/2014/main" id="{F7E45213-B42F-02D1-4484-156557AAA773}"/>
                      </a:ext>
                    </a:extLst>
                  </p:cNvPr>
                  <p:cNvSpPr/>
                  <p:nvPr/>
                </p:nvSpPr>
                <p:spPr>
                  <a:xfrm>
                    <a:off x="5843111" y="4212869"/>
                    <a:ext cx="538695" cy="538695"/>
                  </a:xfrm>
                  <a:custGeom>
                    <a:avLst/>
                    <a:gdLst>
                      <a:gd name="connsiteX0" fmla="*/ 538696 w 538695"/>
                      <a:gd name="connsiteY0" fmla="*/ 269348 h 538695"/>
                      <a:gd name="connsiteX1" fmla="*/ 269348 w 538695"/>
                      <a:gd name="connsiteY1" fmla="*/ 538696 h 538695"/>
                      <a:gd name="connsiteX2" fmla="*/ 0 w 538695"/>
                      <a:gd name="connsiteY2" fmla="*/ 269348 h 538695"/>
                      <a:gd name="connsiteX3" fmla="*/ 269348 w 538695"/>
                      <a:gd name="connsiteY3" fmla="*/ 0 h 538695"/>
                      <a:gd name="connsiteX4" fmla="*/ 538696 w 538695"/>
                      <a:gd name="connsiteY4" fmla="*/ 269348 h 538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695" h="538695">
                        <a:moveTo>
                          <a:pt x="538696" y="269348"/>
                        </a:moveTo>
                        <a:cubicBezTo>
                          <a:pt x="538696" y="418105"/>
                          <a:pt x="418105" y="538696"/>
                          <a:pt x="269348" y="538696"/>
                        </a:cubicBezTo>
                        <a:cubicBezTo>
                          <a:pt x="120591" y="538696"/>
                          <a:pt x="0" y="418105"/>
                          <a:pt x="0" y="269348"/>
                        </a:cubicBezTo>
                        <a:cubicBezTo>
                          <a:pt x="0" y="120591"/>
                          <a:pt x="120591" y="0"/>
                          <a:pt x="269348" y="0"/>
                        </a:cubicBezTo>
                        <a:cubicBezTo>
                          <a:pt x="418105" y="0"/>
                          <a:pt x="538696" y="120591"/>
                          <a:pt x="538696" y="269348"/>
                        </a:cubicBezTo>
                        <a:close/>
                      </a:path>
                    </a:pathLst>
                  </a:custGeom>
                  <a:solidFill>
                    <a:srgbClr val="FFFFFF"/>
                  </a:solidFill>
                  <a:ln w="8572" cap="flat">
                    <a:noFill/>
                    <a:prstDash val="solid"/>
                    <a:miter/>
                  </a:ln>
                </p:spPr>
                <p:txBody>
                  <a:bodyPr rtlCol="0" anchor="ctr"/>
                  <a:lstStyle/>
                  <a:p>
                    <a:endParaRPr lang="en-US"/>
                  </a:p>
                </p:txBody>
              </p:sp>
            </p:grpSp>
            <p:sp>
              <p:nvSpPr>
                <p:cNvPr id="57" name="TextBox 56">
                  <a:extLst>
                    <a:ext uri="{FF2B5EF4-FFF2-40B4-BE49-F238E27FC236}">
                      <a16:creationId xmlns:a16="http://schemas.microsoft.com/office/drawing/2014/main" id="{78F55A08-70C3-555C-ED94-9D2AF82C9B8A}"/>
                    </a:ext>
                  </a:extLst>
                </p:cNvPr>
                <p:cNvSpPr txBox="1"/>
                <p:nvPr/>
              </p:nvSpPr>
              <p:spPr>
                <a:xfrm>
                  <a:off x="2906483" y="3425238"/>
                  <a:ext cx="1659662" cy="686328"/>
                </a:xfrm>
                <a:prstGeom prst="rect">
                  <a:avLst/>
                </a:prstGeom>
                <a:noFill/>
              </p:spPr>
              <p:txBody>
                <a:bodyPr wrap="square" lIns="91440" tIns="45720" rIns="91440" bIns="45720" rtlCol="0" anchor="t">
                  <a:spAutoFit/>
                </a:bodyPr>
                <a:lstStyle/>
                <a:p>
                  <a:pPr algn="ctr"/>
                  <a:r>
                    <a:rPr lang="en-US" sz="1200" b="1"/>
                    <a:t>Record of Processing Activities (</a:t>
                  </a:r>
                  <a:r>
                    <a:rPr lang="en-US" sz="1200" b="1" err="1"/>
                    <a:t>RoPA</a:t>
                  </a:r>
                  <a:r>
                    <a:rPr lang="en-US" sz="1200" b="1"/>
                    <a:t>)</a:t>
                  </a:r>
                  <a:endParaRPr lang="en-US"/>
                </a:p>
              </p:txBody>
            </p:sp>
            <p:sp>
              <p:nvSpPr>
                <p:cNvPr id="58" name="TextBox 57">
                  <a:extLst>
                    <a:ext uri="{FF2B5EF4-FFF2-40B4-BE49-F238E27FC236}">
                      <a16:creationId xmlns:a16="http://schemas.microsoft.com/office/drawing/2014/main" id="{5DA01C93-5050-3CEE-E074-F07F30CD1FAA}"/>
                    </a:ext>
                  </a:extLst>
                </p:cNvPr>
                <p:cNvSpPr txBox="1"/>
                <p:nvPr/>
              </p:nvSpPr>
              <p:spPr>
                <a:xfrm>
                  <a:off x="7556597" y="1343989"/>
                  <a:ext cx="2191347" cy="686328"/>
                </a:xfrm>
                <a:prstGeom prst="rect">
                  <a:avLst/>
                </a:prstGeom>
                <a:noFill/>
              </p:spPr>
              <p:txBody>
                <a:bodyPr wrap="square" lIns="91440" tIns="45720" rIns="91440" bIns="45720" rtlCol="0" anchor="t">
                  <a:spAutoFit/>
                </a:bodyPr>
                <a:lstStyle/>
                <a:p>
                  <a:pPr algn="ctr"/>
                  <a:r>
                    <a:rPr lang="en-US" sz="1200" b="1"/>
                    <a:t>Identification of Personal Data and Data Flows</a:t>
                  </a:r>
                  <a:endParaRPr lang="en-US">
                    <a:ea typeface="Calibri"/>
                    <a:cs typeface="Calibri"/>
                  </a:endParaRPr>
                </a:p>
                <a:p>
                  <a:pPr algn="ctr"/>
                  <a:r>
                    <a:rPr lang="en-US" sz="1200" b="1"/>
                    <a:t> (Data Inventory)</a:t>
                  </a:r>
                  <a:endParaRPr lang="en-US">
                    <a:ea typeface="Calibri"/>
                    <a:cs typeface="Calibri"/>
                  </a:endParaRPr>
                </a:p>
              </p:txBody>
            </p:sp>
            <p:sp>
              <p:nvSpPr>
                <p:cNvPr id="59" name="TextBox 58">
                  <a:extLst>
                    <a:ext uri="{FF2B5EF4-FFF2-40B4-BE49-F238E27FC236}">
                      <a16:creationId xmlns:a16="http://schemas.microsoft.com/office/drawing/2014/main" id="{24C14EB4-642F-7E76-6F4F-093C24D4193F}"/>
                    </a:ext>
                  </a:extLst>
                </p:cNvPr>
                <p:cNvSpPr txBox="1"/>
                <p:nvPr/>
              </p:nvSpPr>
              <p:spPr>
                <a:xfrm>
                  <a:off x="7694441" y="2692676"/>
                  <a:ext cx="1565809" cy="686328"/>
                </a:xfrm>
                <a:prstGeom prst="rect">
                  <a:avLst/>
                </a:prstGeom>
                <a:noFill/>
              </p:spPr>
              <p:txBody>
                <a:bodyPr wrap="square" lIns="91440" tIns="45720" rIns="91440" bIns="45720" rtlCol="0" anchor="t">
                  <a:spAutoFit/>
                </a:bodyPr>
                <a:lstStyle/>
                <a:p>
                  <a:pPr algn="ctr"/>
                  <a:r>
                    <a:rPr lang="en-US" sz="1200" b="1"/>
                    <a:t>Personal Data Protection Policy and Procedures</a:t>
                  </a:r>
                  <a:endParaRPr lang="en-US"/>
                </a:p>
              </p:txBody>
            </p:sp>
            <p:sp>
              <p:nvSpPr>
                <p:cNvPr id="60" name="TextBox 59">
                  <a:extLst>
                    <a:ext uri="{FF2B5EF4-FFF2-40B4-BE49-F238E27FC236}">
                      <a16:creationId xmlns:a16="http://schemas.microsoft.com/office/drawing/2014/main" id="{C959A694-8E49-D812-5862-A6D3561A22CB}"/>
                    </a:ext>
                  </a:extLst>
                </p:cNvPr>
                <p:cNvSpPr txBox="1"/>
                <p:nvPr/>
              </p:nvSpPr>
              <p:spPr>
                <a:xfrm>
                  <a:off x="7251662" y="4289922"/>
                  <a:ext cx="2501634" cy="490234"/>
                </a:xfrm>
                <a:prstGeom prst="rect">
                  <a:avLst/>
                </a:prstGeom>
                <a:noFill/>
              </p:spPr>
              <p:txBody>
                <a:bodyPr wrap="square" lIns="91440" tIns="45720" rIns="91440" bIns="45720" rtlCol="0" anchor="t">
                  <a:spAutoFit/>
                </a:bodyPr>
                <a:lstStyle/>
                <a:p>
                  <a:pPr algn="ctr"/>
                  <a:r>
                    <a:rPr lang="en-US" sz="1200" b="1"/>
                    <a:t>Data Protection Impact Assessment</a:t>
                  </a:r>
                  <a:endParaRPr lang="en-US"/>
                </a:p>
              </p:txBody>
            </p:sp>
            <p:sp>
              <p:nvSpPr>
                <p:cNvPr id="61" name="TextBox 60">
                  <a:extLst>
                    <a:ext uri="{FF2B5EF4-FFF2-40B4-BE49-F238E27FC236}">
                      <a16:creationId xmlns:a16="http://schemas.microsoft.com/office/drawing/2014/main" id="{3987A928-EE59-4D66-61AA-4C16883BEE13}"/>
                    </a:ext>
                  </a:extLst>
                </p:cNvPr>
                <p:cNvSpPr txBox="1"/>
                <p:nvPr/>
              </p:nvSpPr>
              <p:spPr>
                <a:xfrm>
                  <a:off x="5610933" y="1371850"/>
                  <a:ext cx="999674" cy="356902"/>
                </a:xfrm>
                <a:prstGeom prst="rect">
                  <a:avLst/>
                </a:prstGeom>
                <a:noFill/>
              </p:spPr>
              <p:txBody>
                <a:bodyPr wrap="square" rtlCol="0">
                  <a:spAutoFit/>
                </a:bodyPr>
                <a:lstStyle/>
                <a:p>
                  <a:pPr algn="ctr"/>
                  <a:r>
                    <a:rPr lang="en-US" sz="2000">
                      <a:solidFill>
                        <a:srgbClr val="C00000"/>
                      </a:solidFill>
                      <a:latin typeface="Fira Sans SemiBold" panose="020B0503050000020004" pitchFamily="34" charset="0"/>
                    </a:rPr>
                    <a:t>01</a:t>
                  </a:r>
                  <a:endParaRPr lang="en-ID" sz="2000">
                    <a:solidFill>
                      <a:srgbClr val="C00000"/>
                    </a:solidFill>
                    <a:latin typeface="Fira Sans SemiBold" panose="020B0503050000020004" pitchFamily="34" charset="0"/>
                  </a:endParaRPr>
                </a:p>
              </p:txBody>
            </p:sp>
            <p:sp>
              <p:nvSpPr>
                <p:cNvPr id="62" name="TextBox 61">
                  <a:extLst>
                    <a:ext uri="{FF2B5EF4-FFF2-40B4-BE49-F238E27FC236}">
                      <a16:creationId xmlns:a16="http://schemas.microsoft.com/office/drawing/2014/main" id="{15FBEE0C-4EBC-AC0B-282E-737D4167A8FD}"/>
                    </a:ext>
                  </a:extLst>
                </p:cNvPr>
                <p:cNvSpPr txBox="1"/>
                <p:nvPr/>
              </p:nvSpPr>
              <p:spPr>
                <a:xfrm>
                  <a:off x="5610933" y="2112978"/>
                  <a:ext cx="999674" cy="356902"/>
                </a:xfrm>
                <a:prstGeom prst="rect">
                  <a:avLst/>
                </a:prstGeom>
                <a:noFill/>
              </p:spPr>
              <p:txBody>
                <a:bodyPr wrap="square" rtlCol="0">
                  <a:spAutoFit/>
                </a:bodyPr>
                <a:lstStyle/>
                <a:p>
                  <a:pPr algn="ctr"/>
                  <a:r>
                    <a:rPr lang="en-US" sz="2000">
                      <a:solidFill>
                        <a:srgbClr val="00B050"/>
                      </a:solidFill>
                      <a:latin typeface="Fira Sans SemiBold" panose="020B0503050000020004" pitchFamily="34" charset="0"/>
                    </a:rPr>
                    <a:t>02</a:t>
                  </a:r>
                  <a:endParaRPr lang="en-ID" sz="2000">
                    <a:solidFill>
                      <a:srgbClr val="00B050"/>
                    </a:solidFill>
                    <a:latin typeface="Fira Sans SemiBold" panose="020B0503050000020004" pitchFamily="34" charset="0"/>
                  </a:endParaRPr>
                </a:p>
              </p:txBody>
            </p:sp>
            <p:sp>
              <p:nvSpPr>
                <p:cNvPr id="63" name="TextBox 62">
                  <a:extLst>
                    <a:ext uri="{FF2B5EF4-FFF2-40B4-BE49-F238E27FC236}">
                      <a16:creationId xmlns:a16="http://schemas.microsoft.com/office/drawing/2014/main" id="{802E2396-B6B9-1531-89C5-583410EEA5F8}"/>
                    </a:ext>
                  </a:extLst>
                </p:cNvPr>
                <p:cNvSpPr txBox="1"/>
                <p:nvPr/>
              </p:nvSpPr>
              <p:spPr>
                <a:xfrm>
                  <a:off x="5610933" y="2861705"/>
                  <a:ext cx="999674" cy="356902"/>
                </a:xfrm>
                <a:prstGeom prst="rect">
                  <a:avLst/>
                </a:prstGeom>
                <a:noFill/>
              </p:spPr>
              <p:txBody>
                <a:bodyPr wrap="square" rtlCol="0">
                  <a:spAutoFit/>
                </a:bodyPr>
                <a:lstStyle/>
                <a:p>
                  <a:pPr algn="ctr"/>
                  <a:r>
                    <a:rPr lang="en-US" sz="2000">
                      <a:solidFill>
                        <a:srgbClr val="002060"/>
                      </a:solidFill>
                      <a:latin typeface="Fira Sans SemiBold" panose="020B0503050000020004" pitchFamily="34" charset="0"/>
                    </a:rPr>
                    <a:t>03</a:t>
                  </a:r>
                  <a:endParaRPr lang="en-ID" sz="2000">
                    <a:solidFill>
                      <a:srgbClr val="002060"/>
                    </a:solidFill>
                    <a:latin typeface="Fira Sans SemiBold" panose="020B0503050000020004" pitchFamily="34" charset="0"/>
                  </a:endParaRPr>
                </a:p>
              </p:txBody>
            </p:sp>
            <p:sp>
              <p:nvSpPr>
                <p:cNvPr id="64" name="TextBox 63">
                  <a:extLst>
                    <a:ext uri="{FF2B5EF4-FFF2-40B4-BE49-F238E27FC236}">
                      <a16:creationId xmlns:a16="http://schemas.microsoft.com/office/drawing/2014/main" id="{86466EB5-1066-1A5B-D42E-0C8D6B37FDC9}"/>
                    </a:ext>
                  </a:extLst>
                </p:cNvPr>
                <p:cNvSpPr txBox="1"/>
                <p:nvPr/>
              </p:nvSpPr>
              <p:spPr>
                <a:xfrm>
                  <a:off x="5610933" y="3602833"/>
                  <a:ext cx="999674" cy="356902"/>
                </a:xfrm>
                <a:prstGeom prst="rect">
                  <a:avLst/>
                </a:prstGeom>
                <a:noFill/>
              </p:spPr>
              <p:txBody>
                <a:bodyPr wrap="square" rtlCol="0">
                  <a:spAutoFit/>
                </a:bodyPr>
                <a:lstStyle/>
                <a:p>
                  <a:pPr algn="ctr"/>
                  <a:r>
                    <a:rPr lang="en-US" sz="2000">
                      <a:solidFill>
                        <a:srgbClr val="FFC000"/>
                      </a:solidFill>
                      <a:latin typeface="Fira Sans SemiBold" panose="020B0503050000020004" pitchFamily="34" charset="0"/>
                    </a:rPr>
                    <a:t>04</a:t>
                  </a:r>
                  <a:endParaRPr lang="en-ID" sz="2000">
                    <a:solidFill>
                      <a:srgbClr val="FFC000"/>
                    </a:solidFill>
                    <a:latin typeface="Fira Sans SemiBold" panose="020B0503050000020004" pitchFamily="34" charset="0"/>
                  </a:endParaRPr>
                </a:p>
              </p:txBody>
            </p:sp>
            <p:sp>
              <p:nvSpPr>
                <p:cNvPr id="65" name="TextBox 64">
                  <a:extLst>
                    <a:ext uri="{FF2B5EF4-FFF2-40B4-BE49-F238E27FC236}">
                      <a16:creationId xmlns:a16="http://schemas.microsoft.com/office/drawing/2014/main" id="{09238D79-19DF-5C6C-251C-6CDE44DD1AFC}"/>
                    </a:ext>
                  </a:extLst>
                </p:cNvPr>
                <p:cNvSpPr txBox="1"/>
                <p:nvPr/>
              </p:nvSpPr>
              <p:spPr>
                <a:xfrm>
                  <a:off x="5610933" y="4345226"/>
                  <a:ext cx="999674" cy="356902"/>
                </a:xfrm>
                <a:prstGeom prst="rect">
                  <a:avLst/>
                </a:prstGeom>
                <a:noFill/>
              </p:spPr>
              <p:txBody>
                <a:bodyPr wrap="square" rtlCol="0">
                  <a:spAutoFit/>
                </a:bodyPr>
                <a:lstStyle/>
                <a:p>
                  <a:pPr algn="ctr"/>
                  <a:r>
                    <a:rPr lang="en-US" sz="2000">
                      <a:solidFill>
                        <a:srgbClr val="7030A0"/>
                      </a:solidFill>
                      <a:latin typeface="Fira Sans SemiBold" panose="020B0503050000020004" pitchFamily="34" charset="0"/>
                    </a:rPr>
                    <a:t>05</a:t>
                  </a:r>
                  <a:endParaRPr lang="en-ID" sz="2000">
                    <a:solidFill>
                      <a:srgbClr val="7030A0"/>
                    </a:solidFill>
                    <a:latin typeface="Fira Sans SemiBold" panose="020B0503050000020004" pitchFamily="34" charset="0"/>
                  </a:endParaRPr>
                </a:p>
              </p:txBody>
            </p:sp>
            <p:pic>
              <p:nvPicPr>
                <p:cNvPr id="66" name="Graphic 15" descr="Clipboard Mixed with solid fill">
                  <a:extLst>
                    <a:ext uri="{FF2B5EF4-FFF2-40B4-BE49-F238E27FC236}">
                      <a16:creationId xmlns:a16="http://schemas.microsoft.com/office/drawing/2014/main" id="{FE5776F9-38C2-6529-39E2-45D6675F1C3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03180" y="2032936"/>
                  <a:ext cx="525780" cy="544558"/>
                </a:xfrm>
                <a:prstGeom prst="rect">
                  <a:avLst/>
                </a:prstGeom>
              </p:spPr>
            </p:pic>
            <p:sp>
              <p:nvSpPr>
                <p:cNvPr id="67" name="Freeform 64">
                  <a:extLst>
                    <a:ext uri="{FF2B5EF4-FFF2-40B4-BE49-F238E27FC236}">
                      <a16:creationId xmlns:a16="http://schemas.microsoft.com/office/drawing/2014/main" id="{57AF17BE-30F2-A41C-6BE6-D1DA51D621DB}"/>
                    </a:ext>
                  </a:extLst>
                </p:cNvPr>
                <p:cNvSpPr>
                  <a:spLocks noEditPoints="1"/>
                </p:cNvSpPr>
                <p:nvPr/>
              </p:nvSpPr>
              <p:spPr bwMode="auto">
                <a:xfrm>
                  <a:off x="6831902" y="2827606"/>
                  <a:ext cx="395947" cy="416082"/>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68" name="Picture 67">
                  <a:extLst>
                    <a:ext uri="{FF2B5EF4-FFF2-40B4-BE49-F238E27FC236}">
                      <a16:creationId xmlns:a16="http://schemas.microsoft.com/office/drawing/2014/main" id="{06FE0D6C-2CD6-DF0A-4AB7-0AFC510A2D5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16207" y="3556902"/>
                  <a:ext cx="388620" cy="476649"/>
                </a:xfrm>
                <a:prstGeom prst="rect">
                  <a:avLst/>
                </a:prstGeom>
              </p:spPr>
            </p:pic>
            <p:pic>
              <p:nvPicPr>
                <p:cNvPr id="69" name="Graphic 68" descr="Lightbulb and gear">
                  <a:extLst>
                    <a:ext uri="{FF2B5EF4-FFF2-40B4-BE49-F238E27FC236}">
                      <a16:creationId xmlns:a16="http://schemas.microsoft.com/office/drawing/2014/main" id="{8E8E14B5-F288-1DD4-14D4-334508D4CE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95197" y="4168657"/>
                  <a:ext cx="673570" cy="673570"/>
                </a:xfrm>
                <a:prstGeom prst="rect">
                  <a:avLst/>
                </a:prstGeom>
              </p:spPr>
            </p:pic>
          </p:grpSp>
          <p:sp>
            <p:nvSpPr>
              <p:cNvPr id="55" name="TextBox 54">
                <a:extLst>
                  <a:ext uri="{FF2B5EF4-FFF2-40B4-BE49-F238E27FC236}">
                    <a16:creationId xmlns:a16="http://schemas.microsoft.com/office/drawing/2014/main" id="{10F7D294-F321-3D64-6202-9AE5F8DC7EC8}"/>
                  </a:ext>
                </a:extLst>
              </p:cNvPr>
              <p:cNvSpPr txBox="1"/>
              <p:nvPr/>
            </p:nvSpPr>
            <p:spPr>
              <a:xfrm>
                <a:off x="4382530" y="2827279"/>
                <a:ext cx="2279650" cy="549584"/>
              </a:xfrm>
              <a:prstGeom prst="rect">
                <a:avLst/>
              </a:prstGeom>
              <a:noFill/>
            </p:spPr>
            <p:txBody>
              <a:bodyPr wrap="square" lIns="91440" tIns="45720" rIns="91440" bIns="45720" rtlCol="0" anchor="t">
                <a:spAutoFit/>
              </a:bodyPr>
              <a:lstStyle/>
              <a:p>
                <a:pPr algn="ctr"/>
                <a:r>
                  <a:rPr lang="en-US" sz="1200" b="1"/>
                  <a:t>Personal Data Protection Compliance Assessment</a:t>
                </a:r>
                <a:endParaRPr lang="en-US"/>
              </a:p>
            </p:txBody>
          </p:sp>
        </p:grpSp>
        <p:sp>
          <p:nvSpPr>
            <p:cNvPr id="2" name="Freeform 7">
              <a:extLst>
                <a:ext uri="{FF2B5EF4-FFF2-40B4-BE49-F238E27FC236}">
                  <a16:creationId xmlns:a16="http://schemas.microsoft.com/office/drawing/2014/main" id="{7606A356-74BD-D716-F09D-F0333D94946B}"/>
                </a:ext>
              </a:extLst>
            </p:cNvPr>
            <p:cNvSpPr/>
            <p:nvPr/>
          </p:nvSpPr>
          <p:spPr>
            <a:xfrm>
              <a:off x="8020176" y="5567670"/>
              <a:ext cx="419611" cy="947899"/>
            </a:xfrm>
            <a:custGeom>
              <a:avLst/>
              <a:gdLst>
                <a:gd name="connsiteX0" fmla="*/ 476288 w 476288"/>
                <a:gd name="connsiteY0" fmla="*/ 0 h 952576"/>
                <a:gd name="connsiteX1" fmla="*/ 476288 w 476288"/>
                <a:gd name="connsiteY1" fmla="*/ 262661 h 952576"/>
                <a:gd name="connsiteX2" fmla="*/ 262576 w 476288"/>
                <a:gd name="connsiteY2" fmla="*/ 476288 h 952576"/>
                <a:gd name="connsiteX3" fmla="*/ 476288 w 476288"/>
                <a:gd name="connsiteY3" fmla="*/ 689915 h 952576"/>
                <a:gd name="connsiteX4" fmla="*/ 476288 w 476288"/>
                <a:gd name="connsiteY4" fmla="*/ 952576 h 952576"/>
                <a:gd name="connsiteX5" fmla="*/ 0 w 476288"/>
                <a:gd name="connsiteY5" fmla="*/ 476288 h 952576"/>
                <a:gd name="connsiteX6" fmla="*/ 476288 w 476288"/>
                <a:gd name="connsiteY6" fmla="*/ 0 h 95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88" h="952576">
                  <a:moveTo>
                    <a:pt x="476288" y="0"/>
                  </a:moveTo>
                  <a:lnTo>
                    <a:pt x="476288" y="262661"/>
                  </a:lnTo>
                  <a:cubicBezTo>
                    <a:pt x="358330" y="262661"/>
                    <a:pt x="262576" y="358330"/>
                    <a:pt x="262576" y="476288"/>
                  </a:cubicBezTo>
                  <a:cubicBezTo>
                    <a:pt x="262576" y="594331"/>
                    <a:pt x="358245" y="689915"/>
                    <a:pt x="476288" y="689915"/>
                  </a:cubicBezTo>
                  <a:lnTo>
                    <a:pt x="476288" y="952576"/>
                  </a:lnTo>
                  <a:cubicBezTo>
                    <a:pt x="213198" y="952576"/>
                    <a:pt x="0" y="739292"/>
                    <a:pt x="0" y="476288"/>
                  </a:cubicBezTo>
                  <a:cubicBezTo>
                    <a:pt x="-86" y="213284"/>
                    <a:pt x="213198" y="0"/>
                    <a:pt x="476288" y="0"/>
                  </a:cubicBezTo>
                  <a:close/>
                </a:path>
              </a:pathLst>
            </a:custGeom>
            <a:solidFill>
              <a:srgbClr val="DFB354"/>
            </a:solidFill>
            <a:ln w="8572" cap="flat">
              <a:noFill/>
              <a:prstDash val="solid"/>
              <a:miter/>
            </a:ln>
          </p:spPr>
          <p:txBody>
            <a:bodyPr rtlCol="0" anchor="ctr"/>
            <a:lstStyle/>
            <a:p>
              <a:endParaRPr lang="en-US"/>
            </a:p>
          </p:txBody>
        </p:sp>
        <p:sp>
          <p:nvSpPr>
            <p:cNvPr id="3" name="Freeform 13">
              <a:extLst>
                <a:ext uri="{FF2B5EF4-FFF2-40B4-BE49-F238E27FC236}">
                  <a16:creationId xmlns:a16="http://schemas.microsoft.com/office/drawing/2014/main" id="{1EF217A9-EA91-E258-565B-613F5829A131}"/>
                </a:ext>
              </a:extLst>
            </p:cNvPr>
            <p:cNvSpPr/>
            <p:nvPr/>
          </p:nvSpPr>
          <p:spPr>
            <a:xfrm>
              <a:off x="8440089" y="5567670"/>
              <a:ext cx="419611" cy="947899"/>
            </a:xfrm>
            <a:custGeom>
              <a:avLst/>
              <a:gdLst>
                <a:gd name="connsiteX0" fmla="*/ 0 w 476288"/>
                <a:gd name="connsiteY0" fmla="*/ 0 h 952576"/>
                <a:gd name="connsiteX1" fmla="*/ 0 w 476288"/>
                <a:gd name="connsiteY1" fmla="*/ 262661 h 952576"/>
                <a:gd name="connsiteX2" fmla="*/ 213627 w 476288"/>
                <a:gd name="connsiteY2" fmla="*/ 476288 h 952576"/>
                <a:gd name="connsiteX3" fmla="*/ 0 w 476288"/>
                <a:gd name="connsiteY3" fmla="*/ 689915 h 952576"/>
                <a:gd name="connsiteX4" fmla="*/ 0 w 476288"/>
                <a:gd name="connsiteY4" fmla="*/ 952576 h 952576"/>
                <a:gd name="connsiteX5" fmla="*/ 476288 w 476288"/>
                <a:gd name="connsiteY5" fmla="*/ 476288 h 952576"/>
                <a:gd name="connsiteX6" fmla="*/ 0 w 476288"/>
                <a:gd name="connsiteY6" fmla="*/ 0 h 95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88" h="952576">
                  <a:moveTo>
                    <a:pt x="0" y="0"/>
                  </a:moveTo>
                  <a:lnTo>
                    <a:pt x="0" y="262661"/>
                  </a:lnTo>
                  <a:cubicBezTo>
                    <a:pt x="117958" y="262661"/>
                    <a:pt x="213627" y="358330"/>
                    <a:pt x="213627" y="476288"/>
                  </a:cubicBezTo>
                  <a:cubicBezTo>
                    <a:pt x="213627" y="594331"/>
                    <a:pt x="117958" y="689915"/>
                    <a:pt x="0" y="689915"/>
                  </a:cubicBezTo>
                  <a:lnTo>
                    <a:pt x="0" y="952576"/>
                  </a:lnTo>
                  <a:cubicBezTo>
                    <a:pt x="263090" y="952576"/>
                    <a:pt x="476288" y="739292"/>
                    <a:pt x="476288" y="476288"/>
                  </a:cubicBezTo>
                  <a:cubicBezTo>
                    <a:pt x="476288" y="213284"/>
                    <a:pt x="263090" y="0"/>
                    <a:pt x="0" y="0"/>
                  </a:cubicBezTo>
                  <a:close/>
                </a:path>
              </a:pathLst>
            </a:custGeom>
            <a:solidFill>
              <a:srgbClr val="DFB354"/>
            </a:solidFill>
            <a:ln w="8572" cap="flat">
              <a:noFill/>
              <a:prstDash val="solid"/>
              <a:miter/>
            </a:ln>
          </p:spPr>
          <p:txBody>
            <a:bodyPr rtlCol="0" anchor="ctr"/>
            <a:lstStyle/>
            <a:p>
              <a:endParaRPr lang="en-US"/>
            </a:p>
          </p:txBody>
        </p:sp>
        <p:sp>
          <p:nvSpPr>
            <p:cNvPr id="4" name="Freeform 24">
              <a:extLst>
                <a:ext uri="{FF2B5EF4-FFF2-40B4-BE49-F238E27FC236}">
                  <a16:creationId xmlns:a16="http://schemas.microsoft.com/office/drawing/2014/main" id="{2594FFDA-AD6D-52DC-249F-88BD8815EB26}"/>
                </a:ext>
              </a:extLst>
            </p:cNvPr>
            <p:cNvSpPr/>
            <p:nvPr/>
          </p:nvSpPr>
          <p:spPr>
            <a:xfrm>
              <a:off x="7051807" y="5578162"/>
              <a:ext cx="1032413" cy="970419"/>
            </a:xfrm>
            <a:custGeom>
              <a:avLst/>
              <a:gdLst>
                <a:gd name="connsiteX0" fmla="*/ 684257 w 1171860"/>
                <a:gd name="connsiteY0" fmla="*/ 975208 h 975207"/>
                <a:gd name="connsiteX1" fmla="*/ 0 w 1171860"/>
                <a:gd name="connsiteY1" fmla="*/ 975208 h 975207"/>
                <a:gd name="connsiteX2" fmla="*/ 0 w 1171860"/>
                <a:gd name="connsiteY2" fmla="*/ 0 h 975207"/>
                <a:gd name="connsiteX3" fmla="*/ 684257 w 1171860"/>
                <a:gd name="connsiteY3" fmla="*/ 0 h 975207"/>
                <a:gd name="connsiteX4" fmla="*/ 1171861 w 1171860"/>
                <a:gd name="connsiteY4" fmla="*/ 487604 h 975207"/>
                <a:gd name="connsiteX5" fmla="*/ 1171861 w 1171860"/>
                <a:gd name="connsiteY5" fmla="*/ 487604 h 975207"/>
                <a:gd name="connsiteX6" fmla="*/ 684257 w 1171860"/>
                <a:gd name="connsiteY6" fmla="*/ 975208 h 9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1860" h="975207">
                  <a:moveTo>
                    <a:pt x="684257" y="975208"/>
                  </a:moveTo>
                  <a:lnTo>
                    <a:pt x="0" y="975208"/>
                  </a:lnTo>
                  <a:lnTo>
                    <a:pt x="0" y="0"/>
                  </a:lnTo>
                  <a:lnTo>
                    <a:pt x="684257" y="0"/>
                  </a:lnTo>
                  <a:cubicBezTo>
                    <a:pt x="953519" y="0"/>
                    <a:pt x="1171861" y="218342"/>
                    <a:pt x="1171861" y="487604"/>
                  </a:cubicBezTo>
                  <a:lnTo>
                    <a:pt x="1171861" y="487604"/>
                  </a:lnTo>
                  <a:cubicBezTo>
                    <a:pt x="1171861" y="756866"/>
                    <a:pt x="953605" y="975208"/>
                    <a:pt x="684257" y="975208"/>
                  </a:cubicBezTo>
                  <a:close/>
                </a:path>
              </a:pathLst>
            </a:custGeom>
            <a:solidFill>
              <a:srgbClr val="DFB354"/>
            </a:solidFill>
            <a:ln w="8572" cap="flat">
              <a:noFill/>
              <a:prstDash val="solid"/>
              <a:miter/>
            </a:ln>
          </p:spPr>
          <p:txBody>
            <a:bodyPr rtlCol="0" anchor="ctr"/>
            <a:lstStyle/>
            <a:p>
              <a:endParaRPr lang="en-US"/>
            </a:p>
          </p:txBody>
        </p:sp>
        <p:sp>
          <p:nvSpPr>
            <p:cNvPr id="5" name="Freeform 25">
              <a:extLst>
                <a:ext uri="{FF2B5EF4-FFF2-40B4-BE49-F238E27FC236}">
                  <a16:creationId xmlns:a16="http://schemas.microsoft.com/office/drawing/2014/main" id="{AE306064-E615-046C-60EE-5DF7709B3FC5}"/>
                </a:ext>
              </a:extLst>
            </p:cNvPr>
            <p:cNvSpPr/>
            <p:nvPr/>
          </p:nvSpPr>
          <p:spPr>
            <a:xfrm>
              <a:off x="5482342" y="5572873"/>
              <a:ext cx="1928015" cy="983129"/>
            </a:xfrm>
            <a:custGeom>
              <a:avLst/>
              <a:gdLst>
                <a:gd name="connsiteX0" fmla="*/ 0 w 2188431"/>
                <a:gd name="connsiteY0" fmla="*/ 487604 h 987980"/>
                <a:gd name="connsiteX1" fmla="*/ 487604 w 2188431"/>
                <a:gd name="connsiteY1" fmla="*/ 0 h 987980"/>
                <a:gd name="connsiteX2" fmla="*/ 1771764 w 2188431"/>
                <a:gd name="connsiteY2" fmla="*/ 0 h 987980"/>
                <a:gd name="connsiteX3" fmla="*/ 1889208 w 2188431"/>
                <a:gd name="connsiteY3" fmla="*/ 45006 h 987980"/>
                <a:gd name="connsiteX4" fmla="*/ 1963445 w 2188431"/>
                <a:gd name="connsiteY4" fmla="*/ 188424 h 987980"/>
                <a:gd name="connsiteX5" fmla="*/ 1963445 w 2188431"/>
                <a:gd name="connsiteY5" fmla="*/ 577358 h 987980"/>
                <a:gd name="connsiteX6" fmla="*/ 2014880 w 2188431"/>
                <a:gd name="connsiteY6" fmla="*/ 701573 h 987980"/>
                <a:gd name="connsiteX7" fmla="*/ 2160013 w 2188431"/>
                <a:gd name="connsiteY7" fmla="*/ 823560 h 987980"/>
                <a:gd name="connsiteX8" fmla="*/ 2091862 w 2188431"/>
                <a:gd name="connsiteY8" fmla="*/ 987981 h 987980"/>
                <a:gd name="connsiteX9" fmla="*/ 487604 w 2188431"/>
                <a:gd name="connsiteY9" fmla="*/ 987981 h 987980"/>
                <a:gd name="connsiteX10" fmla="*/ 0 w 2188431"/>
                <a:gd name="connsiteY10" fmla="*/ 500377 h 987980"/>
                <a:gd name="connsiteX11" fmla="*/ 0 w 2188431"/>
                <a:gd name="connsiteY11" fmla="*/ 500377 h 987980"/>
                <a:gd name="connsiteX12" fmla="*/ 0 w 2188431"/>
                <a:gd name="connsiteY12" fmla="*/ 494033 h 987980"/>
                <a:gd name="connsiteX13" fmla="*/ 0 w 2188431"/>
                <a:gd name="connsiteY13" fmla="*/ 487604 h 987980"/>
                <a:gd name="connsiteX14" fmla="*/ 0 w 2188431"/>
                <a:gd name="connsiteY14" fmla="*/ 487604 h 98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88431" h="987980">
                  <a:moveTo>
                    <a:pt x="0" y="487604"/>
                  </a:moveTo>
                  <a:cubicBezTo>
                    <a:pt x="0" y="218342"/>
                    <a:pt x="218342" y="0"/>
                    <a:pt x="487604" y="0"/>
                  </a:cubicBezTo>
                  <a:lnTo>
                    <a:pt x="1771764" y="0"/>
                  </a:lnTo>
                  <a:cubicBezTo>
                    <a:pt x="1816941" y="0"/>
                    <a:pt x="1858089" y="17059"/>
                    <a:pt x="1889208" y="45006"/>
                  </a:cubicBezTo>
                  <a:cubicBezTo>
                    <a:pt x="1934127" y="76810"/>
                    <a:pt x="1963445" y="129188"/>
                    <a:pt x="1963445" y="188424"/>
                  </a:cubicBezTo>
                  <a:lnTo>
                    <a:pt x="1963445" y="577358"/>
                  </a:lnTo>
                  <a:cubicBezTo>
                    <a:pt x="1963445" y="623992"/>
                    <a:pt x="1981962" y="668655"/>
                    <a:pt x="2014880" y="701573"/>
                  </a:cubicBezTo>
                  <a:lnTo>
                    <a:pt x="2160013" y="823560"/>
                  </a:lnTo>
                  <a:cubicBezTo>
                    <a:pt x="2220706" y="884253"/>
                    <a:pt x="2177758" y="987981"/>
                    <a:pt x="2091862" y="987981"/>
                  </a:cubicBezTo>
                  <a:lnTo>
                    <a:pt x="487604" y="987981"/>
                  </a:lnTo>
                  <a:cubicBezTo>
                    <a:pt x="218342" y="987981"/>
                    <a:pt x="0" y="769639"/>
                    <a:pt x="0" y="500377"/>
                  </a:cubicBezTo>
                  <a:lnTo>
                    <a:pt x="0" y="500377"/>
                  </a:lnTo>
                  <a:cubicBezTo>
                    <a:pt x="0" y="498234"/>
                    <a:pt x="0" y="496091"/>
                    <a:pt x="0" y="494033"/>
                  </a:cubicBezTo>
                  <a:cubicBezTo>
                    <a:pt x="0" y="491890"/>
                    <a:pt x="0" y="489747"/>
                    <a:pt x="0" y="487604"/>
                  </a:cubicBezTo>
                  <a:lnTo>
                    <a:pt x="0" y="487604"/>
                  </a:lnTo>
                  <a:close/>
                </a:path>
              </a:pathLst>
            </a:custGeom>
            <a:solidFill>
              <a:schemeClr val="bg1">
                <a:lumMod val="95000"/>
              </a:schemeClr>
            </a:solidFill>
            <a:ln w="9525" cap="flat">
              <a:noFill/>
              <a:prstDash val="solid"/>
              <a:miter/>
            </a:ln>
            <a:effectLst>
              <a:outerShdw blurRad="236634" dist="125440" dir="2220000" sx="103000" sy="103000" algn="ctr" rotWithShape="0">
                <a:prstClr val="black">
                  <a:alpha val="9750"/>
                </a:prstClr>
              </a:outerShdw>
            </a:effectLst>
          </p:spPr>
          <p:txBody>
            <a:bodyPr rtlCol="0" anchor="ctr"/>
            <a:lstStyle/>
            <a:p>
              <a:endParaRPr lang="en-US"/>
            </a:p>
          </p:txBody>
        </p:sp>
        <p:sp>
          <p:nvSpPr>
            <p:cNvPr id="7" name="TextBox 6">
              <a:extLst>
                <a:ext uri="{FF2B5EF4-FFF2-40B4-BE49-F238E27FC236}">
                  <a16:creationId xmlns:a16="http://schemas.microsoft.com/office/drawing/2014/main" id="{1D32DE71-EE6E-B1C4-B4AC-BEEA57D18F79}"/>
                </a:ext>
              </a:extLst>
            </p:cNvPr>
            <p:cNvSpPr txBox="1"/>
            <p:nvPr/>
          </p:nvSpPr>
          <p:spPr>
            <a:xfrm>
              <a:off x="5372227" y="5939340"/>
              <a:ext cx="1952226" cy="276999"/>
            </a:xfrm>
            <a:prstGeom prst="rect">
              <a:avLst/>
            </a:prstGeom>
            <a:noFill/>
          </p:spPr>
          <p:txBody>
            <a:bodyPr wrap="square" lIns="91440" tIns="45720" rIns="91440" bIns="45720" rtlCol="0" anchor="t">
              <a:spAutoFit/>
            </a:bodyPr>
            <a:lstStyle/>
            <a:p>
              <a:pPr algn="ctr"/>
              <a:r>
                <a:rPr lang="en-US" sz="1200" b="1"/>
                <a:t>Training and Awareness</a:t>
              </a:r>
              <a:endParaRPr lang="en-US"/>
            </a:p>
          </p:txBody>
        </p:sp>
        <p:sp>
          <p:nvSpPr>
            <p:cNvPr id="9" name="TextBox 8">
              <a:extLst>
                <a:ext uri="{FF2B5EF4-FFF2-40B4-BE49-F238E27FC236}">
                  <a16:creationId xmlns:a16="http://schemas.microsoft.com/office/drawing/2014/main" id="{3B952290-3E00-F79D-F475-EE0748D2D1A2}"/>
                </a:ext>
              </a:extLst>
            </p:cNvPr>
            <p:cNvSpPr txBox="1"/>
            <p:nvPr/>
          </p:nvSpPr>
          <p:spPr>
            <a:xfrm>
              <a:off x="8019362" y="5882190"/>
              <a:ext cx="833483" cy="400110"/>
            </a:xfrm>
            <a:prstGeom prst="rect">
              <a:avLst/>
            </a:prstGeom>
            <a:noFill/>
          </p:spPr>
          <p:txBody>
            <a:bodyPr wrap="square" rtlCol="0">
              <a:spAutoFit/>
            </a:bodyPr>
            <a:lstStyle/>
            <a:p>
              <a:pPr algn="ctr"/>
              <a:r>
                <a:rPr lang="en-US" sz="2000">
                  <a:solidFill>
                    <a:srgbClr val="FFC000"/>
                  </a:solidFill>
                  <a:latin typeface="Fira Sans SemiBold" panose="020B0503050000020004" pitchFamily="34" charset="0"/>
                </a:rPr>
                <a:t>06</a:t>
              </a:r>
              <a:endParaRPr lang="en-ID" sz="2000">
                <a:solidFill>
                  <a:srgbClr val="FFC000"/>
                </a:solidFill>
                <a:latin typeface="Fira Sans SemiBold" panose="020B0503050000020004" pitchFamily="34" charset="0"/>
              </a:endParaRPr>
            </a:p>
          </p:txBody>
        </p:sp>
        <p:pic>
          <p:nvPicPr>
            <p:cNvPr id="10" name="Picture 9">
              <a:extLst>
                <a:ext uri="{FF2B5EF4-FFF2-40B4-BE49-F238E27FC236}">
                  <a16:creationId xmlns:a16="http://schemas.microsoft.com/office/drawing/2014/main" id="{61F12F0F-8159-8338-1F2C-656EC179AC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23507" y="5838935"/>
              <a:ext cx="324014" cy="448871"/>
            </a:xfrm>
            <a:prstGeom prst="rect">
              <a:avLst/>
            </a:prstGeom>
          </p:spPr>
        </p:pic>
      </p:grpSp>
    </p:spTree>
    <p:extLst>
      <p:ext uri="{BB962C8B-B14F-4D97-AF65-F5344CB8AC3E}">
        <p14:creationId xmlns:p14="http://schemas.microsoft.com/office/powerpoint/2010/main" val="1268694784"/>
      </p:ext>
    </p:extLst>
  </p:cSld>
  <p:clrMapOvr>
    <a:masterClrMapping/>
  </p:clrMapOvr>
  <p:extLst>
    <p:ext uri="{6950BFC3-D8DA-4A85-94F7-54DA5524770B}">
      <p188:commentRel xmlns:p188="http://schemas.microsoft.com/office/powerpoint/2018/8/main" r:id="rId2"/>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89A6BB-8C06-29EB-4739-D2336574794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38E442A-E4A5-CCE0-9D0E-CFE6CF5A19D4}"/>
              </a:ext>
            </a:extLst>
          </p:cNvPr>
          <p:cNvSpPr>
            <a:spLocks noGrp="1"/>
          </p:cNvSpPr>
          <p:nvPr>
            <p:ph type="body" sz="quarter" idx="14"/>
          </p:nvPr>
        </p:nvSpPr>
        <p:spPr>
          <a:xfrm>
            <a:off x="0" y="48127"/>
            <a:ext cx="11516497" cy="1419727"/>
          </a:xfrm>
        </p:spPr>
        <p:txBody>
          <a:bodyPr>
            <a:normAutofit/>
          </a:bodyPr>
          <a:lstStyle/>
          <a:p>
            <a:r>
              <a:rPr lang="en-US" sz="3600"/>
              <a:t>1. IDENTIFICATION OF PERSONAL DATA AND DATA 	FLOWS (DATA INVENTORY) </a:t>
            </a:r>
          </a:p>
        </p:txBody>
      </p:sp>
      <p:sp>
        <p:nvSpPr>
          <p:cNvPr id="3" name="Text Placeholder 2">
            <a:extLst>
              <a:ext uri="{FF2B5EF4-FFF2-40B4-BE49-F238E27FC236}">
                <a16:creationId xmlns:a16="http://schemas.microsoft.com/office/drawing/2014/main" id="{A14FEB63-ADD4-62E1-C335-145CD747CAF1}"/>
              </a:ext>
            </a:extLst>
          </p:cNvPr>
          <p:cNvSpPr>
            <a:spLocks noGrp="1"/>
          </p:cNvSpPr>
          <p:nvPr>
            <p:ph type="body" sz="quarter" idx="16"/>
          </p:nvPr>
        </p:nvSpPr>
        <p:spPr/>
        <p:txBody>
          <a:bodyPr>
            <a:normAutofit/>
          </a:bodyPr>
          <a:lstStyle/>
          <a:p>
            <a:r>
              <a:rPr lang="en-US"/>
              <a:t>In this phase of PDPL compliance, </a:t>
            </a:r>
            <a:r>
              <a:rPr lang="en-US" b="1"/>
              <a:t>GRC360 Consultants</a:t>
            </a:r>
            <a:r>
              <a:rPr lang="en-US"/>
              <a:t> will provide client with tailored templates for the Request for Information (RFI) and data inventory. </a:t>
            </a:r>
          </a:p>
          <a:p>
            <a:r>
              <a:rPr lang="en-US"/>
              <a:t>We will conduct interactive workshops to guide client in accurately completing these templates, as they serve as a critical foundation for the subsequent compliance deliverables. </a:t>
            </a:r>
          </a:p>
          <a:p>
            <a:r>
              <a:rPr lang="en-US"/>
              <a:t>Our team will ensure client fully understands the process, assisting it in documenting personal data and data flows effectively. </a:t>
            </a:r>
          </a:p>
          <a:p>
            <a:endParaRPr lang="en-US"/>
          </a:p>
        </p:txBody>
      </p:sp>
      <p:sp>
        <p:nvSpPr>
          <p:cNvPr id="4" name="Text Placeholder 3">
            <a:extLst>
              <a:ext uri="{FF2B5EF4-FFF2-40B4-BE49-F238E27FC236}">
                <a16:creationId xmlns:a16="http://schemas.microsoft.com/office/drawing/2014/main" id="{AAD97F27-4805-E8DB-4F5F-5F95ADAE5BA7}"/>
              </a:ext>
            </a:extLst>
          </p:cNvPr>
          <p:cNvSpPr>
            <a:spLocks noGrp="1"/>
          </p:cNvSpPr>
          <p:nvPr>
            <p:ph type="body" sz="quarter" idx="17"/>
          </p:nvPr>
        </p:nvSpPr>
        <p:spPr/>
        <p:txBody>
          <a:bodyPr vert="horz" lIns="91440" tIns="45720" rIns="91440" bIns="45720" rtlCol="0" anchor="t">
            <a:normAutofit/>
          </a:bodyPr>
          <a:lstStyle/>
          <a:p>
            <a:r>
              <a:rPr lang="en-US" sz="1600" b="1" u="sng"/>
              <a:t>Deliverables:</a:t>
            </a:r>
          </a:p>
          <a:p>
            <a:pPr marL="342900" indent="-342900">
              <a:buAutoNum type="arabicPeriod"/>
            </a:pPr>
            <a:r>
              <a:rPr lang="en-US" sz="1600"/>
              <a:t>RFI template</a:t>
            </a:r>
          </a:p>
          <a:p>
            <a:pPr marL="342900" indent="-342900">
              <a:buAutoNum type="arabicPeriod"/>
            </a:pPr>
            <a:r>
              <a:rPr lang="en-US" sz="1600"/>
              <a:t>Data Inventory Template</a:t>
            </a:r>
            <a:endParaRPr lang="en-US" sz="1600">
              <a:ea typeface="Calibri"/>
              <a:cs typeface="Calibri"/>
            </a:endParaRPr>
          </a:p>
          <a:p>
            <a:pPr marL="342900" indent="-342900">
              <a:buAutoNum type="arabicPeriod"/>
            </a:pPr>
            <a:r>
              <a:rPr lang="en-US" sz="1600"/>
              <a:t>Workshops for filling the above-mentioned templates.</a:t>
            </a:r>
          </a:p>
          <a:p>
            <a:endParaRPr lang="en-US" sz="1600"/>
          </a:p>
        </p:txBody>
      </p:sp>
    </p:spTree>
    <p:extLst>
      <p:ext uri="{BB962C8B-B14F-4D97-AF65-F5344CB8AC3E}">
        <p14:creationId xmlns:p14="http://schemas.microsoft.com/office/powerpoint/2010/main" val="2350780150"/>
      </p:ext>
    </p:extLst>
  </p:cSld>
  <p:clrMapOvr>
    <a:masterClrMapping/>
  </p:clrMapOvr>
  <p:extLst>
    <p:ext uri="{6950BFC3-D8DA-4A85-94F7-54DA5524770B}">
      <p188:commentRel xmlns:p188="http://schemas.microsoft.com/office/powerpoint/2018/8/main" r:id="rId2"/>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F135F2-07A5-83BB-C0B9-9AEF07187C6A}"/>
              </a:ext>
            </a:extLst>
          </p:cNvPr>
          <p:cNvSpPr>
            <a:spLocks noGrp="1"/>
          </p:cNvSpPr>
          <p:nvPr>
            <p:ph type="body" sz="quarter" idx="14"/>
          </p:nvPr>
        </p:nvSpPr>
        <p:spPr>
          <a:xfrm>
            <a:off x="0" y="48127"/>
            <a:ext cx="11516497" cy="1419727"/>
          </a:xfrm>
        </p:spPr>
        <p:txBody>
          <a:bodyPr>
            <a:normAutofit/>
          </a:bodyPr>
          <a:lstStyle/>
          <a:p>
            <a:r>
              <a:rPr lang="en-US" sz="3600"/>
              <a:t>2. PERSONAL DATA PROTECTION COMPLIANCE 	ASSESSMENT </a:t>
            </a:r>
          </a:p>
        </p:txBody>
      </p:sp>
      <p:sp>
        <p:nvSpPr>
          <p:cNvPr id="3" name="Text Placeholder 2">
            <a:extLst>
              <a:ext uri="{FF2B5EF4-FFF2-40B4-BE49-F238E27FC236}">
                <a16:creationId xmlns:a16="http://schemas.microsoft.com/office/drawing/2014/main" id="{CD7DD0BB-0599-82B3-28A6-CC0E9271D018}"/>
              </a:ext>
            </a:extLst>
          </p:cNvPr>
          <p:cNvSpPr>
            <a:spLocks noGrp="1"/>
          </p:cNvSpPr>
          <p:nvPr>
            <p:ph type="body" sz="quarter" idx="16"/>
          </p:nvPr>
        </p:nvSpPr>
        <p:spPr/>
        <p:txBody>
          <a:bodyPr vert="horz" lIns="91440" tIns="45720" rIns="91440" bIns="45720" rtlCol="0" anchor="t">
            <a:normAutofit fontScale="92500" lnSpcReduction="10000"/>
          </a:bodyPr>
          <a:lstStyle/>
          <a:p>
            <a:r>
              <a:rPr lang="en-US" sz="1600">
                <a:latin typeface="Calibri"/>
              </a:rPr>
              <a:t>At every layer and in every instance of the infrastructure, personal data is collected. Hence, to ensure a secure environment the Personal Data Protection Compliance Assessment must be done so GRC360’s security consultants will generate a PDPL Compliance Assessment Report / Gap Report.</a:t>
            </a:r>
          </a:p>
          <a:p>
            <a:r>
              <a:rPr lang="en-US" sz="1600">
                <a:latin typeface="Calibri"/>
              </a:rPr>
              <a:t>This Personal Data Protection Compliance Assessment will be conducted through covering the below-mentioned themes related to personal data at the organization: </a:t>
            </a:r>
          </a:p>
          <a:p>
            <a:pPr marL="342900" indent="-342900">
              <a:buFont typeface="+mj-lt"/>
              <a:buAutoNum type="arabicPeriod"/>
            </a:pPr>
            <a:r>
              <a:rPr lang="en-US" sz="1600">
                <a:latin typeface="Calibri"/>
              </a:rPr>
              <a:t>Governance Model for Personal Data Protection</a:t>
            </a:r>
            <a:endParaRPr lang="en-US" sz="1600">
              <a:latin typeface="Calibri"/>
              <a:ea typeface="Calibri"/>
              <a:cs typeface="Calibri"/>
            </a:endParaRPr>
          </a:p>
          <a:p>
            <a:pPr marL="342900" indent="-342900">
              <a:buFont typeface="+mj-lt"/>
              <a:buAutoNum type="arabicPeriod"/>
            </a:pPr>
            <a:r>
              <a:rPr lang="en-US" sz="1600">
                <a:latin typeface="Calibri"/>
              </a:rPr>
              <a:t>Privacy Policy and Notices</a:t>
            </a:r>
          </a:p>
          <a:p>
            <a:pPr marL="342900" indent="-342900">
              <a:buFont typeface="+mj-lt"/>
              <a:buAutoNum type="arabicPeriod"/>
            </a:pPr>
            <a:r>
              <a:rPr lang="en-US" sz="1600">
                <a:latin typeface="Calibri"/>
              </a:rPr>
              <a:t>Consent Acquisition and Recording </a:t>
            </a:r>
          </a:p>
          <a:p>
            <a:pPr marL="342900" indent="-342900">
              <a:buFont typeface="+mj-lt"/>
              <a:buAutoNum type="arabicPeriod"/>
            </a:pPr>
            <a:r>
              <a:rPr lang="en-US" sz="1600">
                <a:latin typeface="Calibri"/>
              </a:rPr>
              <a:t>Data Subject Rights</a:t>
            </a:r>
          </a:p>
          <a:p>
            <a:pPr marL="342900" indent="-342900">
              <a:buFont typeface="+mj-lt"/>
              <a:buAutoNum type="arabicPeriod"/>
            </a:pPr>
            <a:r>
              <a:rPr lang="en-US" sz="1600">
                <a:latin typeface="Calibri"/>
              </a:rPr>
              <a:t>Measures for Protection on Personal data </a:t>
            </a:r>
            <a:endParaRPr lang="en-US" sz="1600">
              <a:latin typeface="Calibri"/>
              <a:ea typeface="Calibri"/>
              <a:cs typeface="Calibri"/>
            </a:endParaRPr>
          </a:p>
          <a:p>
            <a:pPr marL="342900" indent="-342900">
              <a:buFont typeface="+mj-lt"/>
              <a:buAutoNum type="arabicPeriod"/>
            </a:pPr>
            <a:r>
              <a:rPr lang="en-US" sz="1600">
                <a:latin typeface="Calibri"/>
              </a:rPr>
              <a:t>Cross Border Data Transfer </a:t>
            </a:r>
            <a:endParaRPr lang="en-US" sz="1600">
              <a:latin typeface="Calibri"/>
              <a:ea typeface="Calibri"/>
              <a:cs typeface="Calibri"/>
            </a:endParaRPr>
          </a:p>
          <a:p>
            <a:pPr marL="342900" indent="-342900">
              <a:buFont typeface="+mj-lt"/>
              <a:buAutoNum type="arabicPeriod"/>
            </a:pPr>
            <a:r>
              <a:rPr lang="en-US" sz="1600">
                <a:latin typeface="Calibri"/>
              </a:rPr>
              <a:t>Legal Basis of Data Processing</a:t>
            </a:r>
            <a:endParaRPr lang="en-US" sz="1600">
              <a:latin typeface="Calibri"/>
              <a:ea typeface="Calibri"/>
              <a:cs typeface="Calibri"/>
            </a:endParaRPr>
          </a:p>
          <a:p>
            <a:pPr marL="342900" indent="-342900">
              <a:buFont typeface="+mj-lt"/>
              <a:buAutoNum type="arabicPeriod"/>
            </a:pPr>
            <a:r>
              <a:rPr lang="en-US" sz="1600">
                <a:latin typeface="Calibri"/>
              </a:rPr>
              <a:t>Personal Data Breach Management </a:t>
            </a:r>
            <a:endParaRPr lang="en-US" sz="1600">
              <a:latin typeface="Calibri"/>
              <a:ea typeface="Calibri"/>
              <a:cs typeface="Calibri"/>
            </a:endParaRPr>
          </a:p>
          <a:p>
            <a:pPr marL="342900" indent="-342900">
              <a:buFont typeface="+mj-lt"/>
              <a:buAutoNum type="arabicPeriod"/>
            </a:pPr>
            <a:r>
              <a:rPr lang="en-US" sz="1600">
                <a:latin typeface="Calibri"/>
              </a:rPr>
              <a:t>Record of Processing Activities </a:t>
            </a:r>
            <a:endParaRPr lang="en-US" sz="1600">
              <a:latin typeface="Calibri"/>
              <a:ea typeface="Calibri"/>
              <a:cs typeface="Calibri"/>
            </a:endParaRPr>
          </a:p>
          <a:p>
            <a:endParaRPr lang="en-US" sz="1600">
              <a:latin typeface="Calibri"/>
            </a:endParaRPr>
          </a:p>
          <a:p>
            <a:endParaRPr lang="en-US" sz="1600"/>
          </a:p>
        </p:txBody>
      </p:sp>
      <p:sp>
        <p:nvSpPr>
          <p:cNvPr id="4" name="Text Placeholder 3">
            <a:extLst>
              <a:ext uri="{FF2B5EF4-FFF2-40B4-BE49-F238E27FC236}">
                <a16:creationId xmlns:a16="http://schemas.microsoft.com/office/drawing/2014/main" id="{35B3E706-AB14-E40C-0AF2-2DF25F8D543D}"/>
              </a:ext>
            </a:extLst>
          </p:cNvPr>
          <p:cNvSpPr>
            <a:spLocks noGrp="1"/>
          </p:cNvSpPr>
          <p:nvPr>
            <p:ph type="body" sz="quarter" idx="17"/>
          </p:nvPr>
        </p:nvSpPr>
        <p:spPr/>
        <p:txBody>
          <a:bodyPr>
            <a:normAutofit/>
          </a:bodyPr>
          <a:lstStyle/>
          <a:p>
            <a:r>
              <a:rPr lang="en-US" sz="1600" b="1" u="sng"/>
              <a:t>Deliverables:</a:t>
            </a:r>
          </a:p>
          <a:p>
            <a:r>
              <a:rPr lang="en-US" sz="1600"/>
              <a:t>Personal Data Protection Compliance Assessment Report comprising:</a:t>
            </a:r>
          </a:p>
          <a:p>
            <a:pPr marL="342900" indent="-342900">
              <a:buAutoNum type="arabicPeriod"/>
            </a:pPr>
            <a:r>
              <a:rPr lang="en-US" sz="1600"/>
              <a:t>The Key Requirements of The Personal Data Protection Law of Saudi Arabia</a:t>
            </a:r>
          </a:p>
          <a:p>
            <a:pPr marL="342900" indent="-342900">
              <a:buAutoNum type="arabicPeriod"/>
            </a:pPr>
            <a:r>
              <a:rPr lang="en-US" sz="1600"/>
              <a:t>The Key Requirements of The Implementing Regulation of the Personal Data Protection Law</a:t>
            </a:r>
          </a:p>
          <a:p>
            <a:endParaRPr lang="en-US" sz="1600"/>
          </a:p>
        </p:txBody>
      </p:sp>
    </p:spTree>
    <p:extLst>
      <p:ext uri="{BB962C8B-B14F-4D97-AF65-F5344CB8AC3E}">
        <p14:creationId xmlns:p14="http://schemas.microsoft.com/office/powerpoint/2010/main" val="41215951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41818C-F0EE-2360-53C6-E1B60E349209}"/>
              </a:ext>
            </a:extLst>
          </p:cNvPr>
          <p:cNvSpPr/>
          <p:nvPr/>
        </p:nvSpPr>
        <p:spPr>
          <a:xfrm>
            <a:off x="0" y="0"/>
            <a:ext cx="1466883" cy="63019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3200" b="1"/>
              <a:t>3. PERSONAL DATA PROTECTION POLICIES AND PROCEDURES</a:t>
            </a:r>
          </a:p>
        </p:txBody>
      </p:sp>
      <p:sp>
        <p:nvSpPr>
          <p:cNvPr id="3" name="TextBox 2">
            <a:extLst>
              <a:ext uri="{FF2B5EF4-FFF2-40B4-BE49-F238E27FC236}">
                <a16:creationId xmlns:a16="http://schemas.microsoft.com/office/drawing/2014/main" id="{4E78F6B9-E0F6-F110-936C-6A1364BD0466}"/>
              </a:ext>
            </a:extLst>
          </p:cNvPr>
          <p:cNvSpPr txBox="1"/>
          <p:nvPr/>
        </p:nvSpPr>
        <p:spPr>
          <a:xfrm>
            <a:off x="1707696" y="186721"/>
            <a:ext cx="10243491" cy="954107"/>
          </a:xfrm>
          <a:prstGeom prst="rect">
            <a:avLst/>
          </a:prstGeom>
          <a:noFill/>
        </p:spPr>
        <p:txBody>
          <a:bodyPr wrap="square" lIns="91440" tIns="45720" rIns="91440" bIns="45720" rtlCol="0" anchor="t">
            <a:spAutoFit/>
          </a:bodyPr>
          <a:lstStyle/>
          <a:p>
            <a:pPr algn="just" defTabSz="857250">
              <a:defRPr/>
            </a:pPr>
            <a:r>
              <a:rPr lang="en-US" sz="1400" dirty="0"/>
              <a:t>In this phase, our consultants will provide </a:t>
            </a:r>
            <a:r>
              <a:rPr lang="en-US" sz="1400" b="1"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lang="en-US" sz="1400" dirty="0"/>
              <a:t> with a comprehensive suite of policies and procedures designed to ensure full compliance with the Kingdom of Saudi Arabia's Personal Data Protection Law (KSA PDPL). The deliverables are tailored to address key aspects of data protection and privacy management, empowering </a:t>
            </a:r>
            <a:r>
              <a:rPr lang="en-US" sz="1400" b="1"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 </a:t>
            </a:r>
            <a:r>
              <a:rPr lang="en-US" sz="1400" dirty="0"/>
              <a:t>to establish robust governance and operational frameworks.</a:t>
            </a:r>
          </a:p>
        </p:txBody>
      </p:sp>
      <p:graphicFrame>
        <p:nvGraphicFramePr>
          <p:cNvPr id="5" name="Diagram 4">
            <a:extLst>
              <a:ext uri="{FF2B5EF4-FFF2-40B4-BE49-F238E27FC236}">
                <a16:creationId xmlns:a16="http://schemas.microsoft.com/office/drawing/2014/main" id="{D2B93301-82F7-CA34-1E99-B0B50CB4EE0C}"/>
              </a:ext>
            </a:extLst>
          </p:cNvPr>
          <p:cNvGraphicFramePr/>
          <p:nvPr>
            <p:extLst>
              <p:ext uri="{D42A27DB-BD31-4B8C-83A1-F6EECF244321}">
                <p14:modId xmlns:p14="http://schemas.microsoft.com/office/powerpoint/2010/main" val="2110238698"/>
              </p:ext>
            </p:extLst>
          </p:nvPr>
        </p:nvGraphicFramePr>
        <p:xfrm>
          <a:off x="2628900" y="1074812"/>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49763965"/>
      </p:ext>
    </p:extLst>
  </p:cSld>
  <p:clrMapOvr>
    <a:masterClrMapping/>
  </p:clrMapOvr>
  <p:extLst>
    <p:ext uri="{6950BFC3-D8DA-4A85-94F7-54DA5524770B}">
      <p188:commentRel xmlns:p188="http://schemas.microsoft.com/office/powerpoint/2018/8/main" r:id="rId2"/>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81982-1A74-AC09-819A-A5874C47D297}"/>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B83B76DA-231E-1CDB-AC34-6ACDF91F1CE3}"/>
              </a:ext>
            </a:extLst>
          </p:cNvPr>
          <p:cNvSpPr/>
          <p:nvPr/>
        </p:nvSpPr>
        <p:spPr>
          <a:xfrm>
            <a:off x="0" y="0"/>
            <a:ext cx="1466883" cy="63019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3200" b="1"/>
              <a:t>3. PERSONAL DATA PROTECTION POLICIES AND PROCEDURES</a:t>
            </a:r>
          </a:p>
        </p:txBody>
      </p:sp>
      <p:sp>
        <p:nvSpPr>
          <p:cNvPr id="3" name="TextBox 2">
            <a:extLst>
              <a:ext uri="{FF2B5EF4-FFF2-40B4-BE49-F238E27FC236}">
                <a16:creationId xmlns:a16="http://schemas.microsoft.com/office/drawing/2014/main" id="{5A3CC875-DBD9-7F49-A717-A71B6B57CC38}"/>
              </a:ext>
            </a:extLst>
          </p:cNvPr>
          <p:cNvSpPr txBox="1"/>
          <p:nvPr/>
        </p:nvSpPr>
        <p:spPr>
          <a:xfrm>
            <a:off x="1707696" y="186721"/>
            <a:ext cx="10243491" cy="954107"/>
          </a:xfrm>
          <a:prstGeom prst="rect">
            <a:avLst/>
          </a:prstGeom>
          <a:noFill/>
        </p:spPr>
        <p:txBody>
          <a:bodyPr wrap="square" lIns="91440" tIns="45720" rIns="91440" bIns="45720" rtlCol="0" anchor="t">
            <a:spAutoFit/>
          </a:bodyPr>
          <a:lstStyle/>
          <a:p>
            <a:pPr algn="just" defTabSz="857250">
              <a:defRPr/>
            </a:pPr>
            <a:r>
              <a:rPr lang="en-US" sz="1400" dirty="0"/>
              <a:t>In this phase, our consultants will provide </a:t>
            </a:r>
            <a:r>
              <a:rPr lang="en-US" sz="1400" b="1"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lang="en-US" sz="1400" dirty="0"/>
              <a:t> with a comprehensive suite of policies and procedures designed to ensure full compliance with the Kingdom of Saudi Arabia's Personal Data Protection Law (KSA PDPL). The deliverables are tailored to address key aspects of data protection and privacy management, empowering </a:t>
            </a:r>
            <a:r>
              <a:rPr lang="en-US" sz="1400" b="1"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 </a:t>
            </a:r>
            <a:r>
              <a:rPr lang="en-US" sz="1400" dirty="0"/>
              <a:t>to establish robust governance and operational frameworks.</a:t>
            </a:r>
          </a:p>
        </p:txBody>
      </p:sp>
      <p:graphicFrame>
        <p:nvGraphicFramePr>
          <p:cNvPr id="5" name="Diagram 4">
            <a:extLst>
              <a:ext uri="{FF2B5EF4-FFF2-40B4-BE49-F238E27FC236}">
                <a16:creationId xmlns:a16="http://schemas.microsoft.com/office/drawing/2014/main" id="{3BB730BA-40DA-0BD8-7643-8B972B10A1AA}"/>
              </a:ext>
            </a:extLst>
          </p:cNvPr>
          <p:cNvGraphicFramePr/>
          <p:nvPr>
            <p:extLst>
              <p:ext uri="{D42A27DB-BD31-4B8C-83A1-F6EECF244321}">
                <p14:modId xmlns:p14="http://schemas.microsoft.com/office/powerpoint/2010/main" val="3437343453"/>
              </p:ext>
            </p:extLst>
          </p:nvPr>
        </p:nvGraphicFramePr>
        <p:xfrm>
          <a:off x="2628900" y="1074812"/>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75057417"/>
      </p:ext>
    </p:extLst>
  </p:cSld>
  <p:clrMapOvr>
    <a:masterClrMapping/>
  </p:clrMapOvr>
  <p:extLst>
    <p:ext uri="{6950BFC3-D8DA-4A85-94F7-54DA5524770B}">
      <p188:commentRel xmlns:p188="http://schemas.microsoft.com/office/powerpoint/2018/8/main" r:id="rId2"/>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89806-0BAA-6794-100D-5D5010B3F45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D2AB359-58EE-061A-F351-25EC0DE4B082}"/>
              </a:ext>
            </a:extLst>
          </p:cNvPr>
          <p:cNvSpPr>
            <a:spLocks noGrp="1"/>
          </p:cNvSpPr>
          <p:nvPr>
            <p:ph type="body" sz="quarter" idx="14"/>
          </p:nvPr>
        </p:nvSpPr>
        <p:spPr>
          <a:xfrm>
            <a:off x="-1" y="85327"/>
            <a:ext cx="12192001" cy="1419727"/>
          </a:xfrm>
        </p:spPr>
        <p:txBody>
          <a:bodyPr>
            <a:normAutofit/>
          </a:bodyPr>
          <a:lstStyle/>
          <a:p>
            <a:r>
              <a:rPr lang="en-US" sz="3600">
                <a:cs typeface="Calibri" panose="020F0502020204030204" pitchFamily="34" charset="0"/>
              </a:rPr>
              <a:t>4</a:t>
            </a:r>
            <a:r>
              <a:rPr lang="en-US" sz="3600" b="1">
                <a:solidFill>
                  <a:schemeClr val="bg1"/>
                </a:solidFill>
                <a:cs typeface="Calibri" panose="020F0502020204030204" pitchFamily="34" charset="0"/>
              </a:rPr>
              <a:t>. RECORD OF PROCESSING ACTIVITIES (RoPA) 	</a:t>
            </a:r>
          </a:p>
        </p:txBody>
      </p:sp>
      <p:sp>
        <p:nvSpPr>
          <p:cNvPr id="3" name="TextBox 2">
            <a:extLst>
              <a:ext uri="{FF2B5EF4-FFF2-40B4-BE49-F238E27FC236}">
                <a16:creationId xmlns:a16="http://schemas.microsoft.com/office/drawing/2014/main" id="{5F1D939C-23EA-615B-91A0-13D782FDF452}"/>
              </a:ext>
            </a:extLst>
          </p:cNvPr>
          <p:cNvSpPr txBox="1"/>
          <p:nvPr/>
        </p:nvSpPr>
        <p:spPr>
          <a:xfrm>
            <a:off x="124410" y="1741442"/>
            <a:ext cx="4733484" cy="3046988"/>
          </a:xfrm>
          <a:prstGeom prst="rect">
            <a:avLst/>
          </a:prstGeom>
          <a:noFill/>
        </p:spPr>
        <p:txBody>
          <a:bodyPr wrap="square" lIns="91440" tIns="45720" rIns="91440" bIns="45720" rtlCol="0" anchor="t">
            <a:spAutoFit/>
          </a:bodyPr>
          <a:lstStyle/>
          <a:p>
            <a:pPr algn="just" defTabSz="857250">
              <a:defRPr/>
            </a:pPr>
            <a:r>
              <a:rPr lang="en-US" sz="1600" dirty="0" err="1">
                <a:solidFill>
                  <a:prstClr val="black"/>
                </a:solidFill>
                <a:latin typeface="Calibri"/>
              </a:rPr>
              <a:t>RoPA</a:t>
            </a:r>
            <a:r>
              <a:rPr lang="en-US" sz="1600" dirty="0">
                <a:solidFill>
                  <a:prstClr val="black"/>
                </a:solidFill>
                <a:latin typeface="Calibri"/>
              </a:rPr>
              <a:t> (Record of Processing Activities) is a fundamental requirement under the KSA PDPL and other data protection regulations. </a:t>
            </a:r>
            <a:r>
              <a:rPr lang="en-US" sz="1600" dirty="0" err="1">
                <a:solidFill>
                  <a:prstClr val="black"/>
                </a:solidFill>
                <a:latin typeface="Calibri"/>
              </a:rPr>
              <a:t>RoPA</a:t>
            </a:r>
            <a:r>
              <a:rPr lang="en-US" sz="1600" dirty="0">
                <a:solidFill>
                  <a:prstClr val="black"/>
                </a:solidFill>
                <a:latin typeface="Calibri"/>
              </a:rPr>
              <a:t> compliance refers to the process of ensuring that an organization maintains accurate and up-to-date records of all its data processing activities involving personal data. These records serve as a way to demonstrate compliance with data protection regulations and to provide transparency regarding how personal data is processed within an organization.</a:t>
            </a:r>
            <a:endParaRPr lang="en-US" dirty="0">
              <a:solidFill>
                <a:prstClr val="black"/>
              </a:solidFill>
            </a:endParaRPr>
          </a:p>
          <a:p>
            <a:pPr algn="just" defTabSz="857250">
              <a:defRPr/>
            </a:pPr>
            <a:r>
              <a:rPr lang="en-US" sz="1600" dirty="0">
                <a:solidFill>
                  <a:prstClr val="black"/>
                </a:solidFill>
                <a:latin typeface="Calibri"/>
              </a:rPr>
              <a:t>GRC360 follows the mentioned steps for documenting the </a:t>
            </a:r>
            <a:r>
              <a:rPr lang="en-US" sz="1600" b="1"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lang="en-US" sz="1600" i="0" kern="1200" spc="0" baseline="0" dirty="0">
                <a:ln>
                  <a:noFill/>
                </a:ln>
                <a:solidFill>
                  <a:srgbClr val="000000"/>
                </a:solidFill>
                <a:effectLst/>
                <a:latin typeface="Calibri" panose="020F0502020204030204" pitchFamily="34" charset="0"/>
                <a:ea typeface="+mn-ea"/>
                <a:cs typeface="Sakkal Majalla" panose="02000000000000000000" pitchFamily="2" charset="-78"/>
              </a:rPr>
              <a:t>’s</a:t>
            </a:r>
            <a:r>
              <a:rPr lang="en-US" sz="1600" b="1" i="0" kern="1200" spc="0" baseline="0" dirty="0">
                <a:ln>
                  <a:noFill/>
                </a:ln>
                <a:solidFill>
                  <a:srgbClr val="000000"/>
                </a:solidFill>
                <a:effectLst/>
                <a:latin typeface="Calibri" panose="020F0502020204030204" pitchFamily="34" charset="0"/>
                <a:ea typeface="+mn-ea"/>
                <a:cs typeface="Sakkal Majalla" panose="02000000000000000000" pitchFamily="2" charset="-78"/>
              </a:rPr>
              <a:t> </a:t>
            </a:r>
            <a:r>
              <a:rPr lang="en-US" sz="1600" dirty="0">
                <a:solidFill>
                  <a:prstClr val="black"/>
                </a:solidFill>
                <a:latin typeface="Calibri"/>
              </a:rPr>
              <a:t>Processing activities in </a:t>
            </a:r>
            <a:r>
              <a:rPr lang="en-US" sz="1600" dirty="0" err="1">
                <a:solidFill>
                  <a:prstClr val="black"/>
                </a:solidFill>
                <a:latin typeface="Calibri"/>
              </a:rPr>
              <a:t>RoPA</a:t>
            </a:r>
            <a:r>
              <a:rPr lang="en-US" sz="1600" dirty="0">
                <a:solidFill>
                  <a:prstClr val="black"/>
                </a:solidFill>
                <a:latin typeface="Calibri"/>
              </a:rPr>
              <a:t> sheet.</a:t>
            </a:r>
            <a:endParaRPr lang="en-US" sz="1600" dirty="0">
              <a:solidFill>
                <a:prstClr val="black"/>
              </a:solidFill>
              <a:latin typeface="Calibri"/>
              <a:ea typeface="Calibri"/>
              <a:cs typeface="Calibri"/>
            </a:endParaRPr>
          </a:p>
        </p:txBody>
      </p:sp>
      <p:grpSp>
        <p:nvGrpSpPr>
          <p:cNvPr id="43" name="Группа 103">
            <a:extLst>
              <a:ext uri="{FF2B5EF4-FFF2-40B4-BE49-F238E27FC236}">
                <a16:creationId xmlns:a16="http://schemas.microsoft.com/office/drawing/2014/main" id="{1AC0E11B-DCF9-725B-F395-0052F5DC76C0}"/>
              </a:ext>
            </a:extLst>
          </p:cNvPr>
          <p:cNvGrpSpPr/>
          <p:nvPr/>
        </p:nvGrpSpPr>
        <p:grpSpPr>
          <a:xfrm>
            <a:off x="6666175" y="1778001"/>
            <a:ext cx="5493662" cy="4419144"/>
            <a:chOff x="5011738" y="1565276"/>
            <a:chExt cx="5114925" cy="4424363"/>
          </a:xfrm>
        </p:grpSpPr>
        <p:sp>
          <p:nvSpPr>
            <p:cNvPr id="47" name="Freeform 80">
              <a:extLst>
                <a:ext uri="{FF2B5EF4-FFF2-40B4-BE49-F238E27FC236}">
                  <a16:creationId xmlns:a16="http://schemas.microsoft.com/office/drawing/2014/main" id="{52206AEE-1740-1DC3-C530-5B04FC2F9A77}"/>
                </a:ext>
              </a:extLst>
            </p:cNvPr>
            <p:cNvSpPr>
              <a:spLocks/>
            </p:cNvSpPr>
            <p:nvPr/>
          </p:nvSpPr>
          <p:spPr bwMode="auto">
            <a:xfrm>
              <a:off x="6951663" y="1565276"/>
              <a:ext cx="3175000" cy="4424363"/>
            </a:xfrm>
            <a:custGeom>
              <a:avLst/>
              <a:gdLst>
                <a:gd name="T0" fmla="*/ 732 w 748"/>
                <a:gd name="T1" fmla="*/ 982 h 1044"/>
                <a:gd name="T2" fmla="*/ 182 w 748"/>
                <a:gd name="T3" fmla="*/ 28 h 1044"/>
                <a:gd name="T4" fmla="*/ 110 w 748"/>
                <a:gd name="T5" fmla="*/ 28 h 1044"/>
                <a:gd name="T6" fmla="*/ 0 w 748"/>
                <a:gd name="T7" fmla="*/ 219 h 1044"/>
                <a:gd name="T8" fmla="*/ 12 w 748"/>
                <a:gd name="T9" fmla="*/ 217 h 1044"/>
                <a:gd name="T10" fmla="*/ 66 w 748"/>
                <a:gd name="T11" fmla="*/ 249 h 1044"/>
                <a:gd name="T12" fmla="*/ 483 w 748"/>
                <a:gd name="T13" fmla="*/ 971 h 1044"/>
                <a:gd name="T14" fmla="*/ 483 w 748"/>
                <a:gd name="T15" fmla="*/ 1034 h 1044"/>
                <a:gd name="T16" fmla="*/ 476 w 748"/>
                <a:gd name="T17" fmla="*/ 1044 h 1044"/>
                <a:gd name="T18" fmla="*/ 697 w 748"/>
                <a:gd name="T19" fmla="*/ 1044 h 1044"/>
                <a:gd name="T20" fmla="*/ 732 w 748"/>
                <a:gd name="T21" fmla="*/ 98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8" h="1044">
                  <a:moveTo>
                    <a:pt x="732" y="982"/>
                  </a:moveTo>
                  <a:cubicBezTo>
                    <a:pt x="182" y="28"/>
                    <a:pt x="182" y="28"/>
                    <a:pt x="182" y="28"/>
                  </a:cubicBezTo>
                  <a:cubicBezTo>
                    <a:pt x="166" y="0"/>
                    <a:pt x="126" y="0"/>
                    <a:pt x="110" y="28"/>
                  </a:cubicBezTo>
                  <a:cubicBezTo>
                    <a:pt x="0" y="219"/>
                    <a:pt x="0" y="219"/>
                    <a:pt x="0" y="219"/>
                  </a:cubicBezTo>
                  <a:cubicBezTo>
                    <a:pt x="4" y="218"/>
                    <a:pt x="8" y="217"/>
                    <a:pt x="12" y="217"/>
                  </a:cubicBezTo>
                  <a:cubicBezTo>
                    <a:pt x="35" y="217"/>
                    <a:pt x="55" y="229"/>
                    <a:pt x="66" y="249"/>
                  </a:cubicBezTo>
                  <a:cubicBezTo>
                    <a:pt x="483" y="971"/>
                    <a:pt x="483" y="971"/>
                    <a:pt x="483" y="971"/>
                  </a:cubicBezTo>
                  <a:cubicBezTo>
                    <a:pt x="495" y="991"/>
                    <a:pt x="495" y="1014"/>
                    <a:pt x="483" y="1034"/>
                  </a:cubicBezTo>
                  <a:cubicBezTo>
                    <a:pt x="481" y="1037"/>
                    <a:pt x="479" y="1041"/>
                    <a:pt x="476" y="1044"/>
                  </a:cubicBezTo>
                  <a:cubicBezTo>
                    <a:pt x="697" y="1044"/>
                    <a:pt x="697" y="1044"/>
                    <a:pt x="697" y="1044"/>
                  </a:cubicBezTo>
                  <a:cubicBezTo>
                    <a:pt x="728" y="1044"/>
                    <a:pt x="748" y="1009"/>
                    <a:pt x="732" y="982"/>
                  </a:cubicBez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Freeform 81">
              <a:extLst>
                <a:ext uri="{FF2B5EF4-FFF2-40B4-BE49-F238E27FC236}">
                  <a16:creationId xmlns:a16="http://schemas.microsoft.com/office/drawing/2014/main" id="{FD8B3F3F-AD00-4E92-73CD-816642247092}"/>
                </a:ext>
              </a:extLst>
            </p:cNvPr>
            <p:cNvSpPr>
              <a:spLocks/>
            </p:cNvSpPr>
            <p:nvPr/>
          </p:nvSpPr>
          <p:spPr bwMode="auto">
            <a:xfrm>
              <a:off x="6365876" y="2547938"/>
              <a:ext cx="2627313" cy="3441700"/>
            </a:xfrm>
            <a:custGeom>
              <a:avLst/>
              <a:gdLst>
                <a:gd name="T0" fmla="*/ 603 w 619"/>
                <a:gd name="T1" fmla="*/ 750 h 812"/>
                <a:gd name="T2" fmla="*/ 186 w 619"/>
                <a:gd name="T3" fmla="*/ 28 h 812"/>
                <a:gd name="T4" fmla="*/ 114 w 619"/>
                <a:gd name="T5" fmla="*/ 28 h 812"/>
                <a:gd name="T6" fmla="*/ 0 w 619"/>
                <a:gd name="T7" fmla="*/ 226 h 812"/>
                <a:gd name="T8" fmla="*/ 12 w 619"/>
                <a:gd name="T9" fmla="*/ 225 h 812"/>
                <a:gd name="T10" fmla="*/ 66 w 619"/>
                <a:gd name="T11" fmla="*/ 256 h 812"/>
                <a:gd name="T12" fmla="*/ 345 w 619"/>
                <a:gd name="T13" fmla="*/ 739 h 812"/>
                <a:gd name="T14" fmla="*/ 345 w 619"/>
                <a:gd name="T15" fmla="*/ 802 h 812"/>
                <a:gd name="T16" fmla="*/ 338 w 619"/>
                <a:gd name="T17" fmla="*/ 812 h 812"/>
                <a:gd name="T18" fmla="*/ 567 w 619"/>
                <a:gd name="T19" fmla="*/ 812 h 812"/>
                <a:gd name="T20" fmla="*/ 603 w 619"/>
                <a:gd name="T21" fmla="*/ 75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812">
                  <a:moveTo>
                    <a:pt x="603" y="750"/>
                  </a:moveTo>
                  <a:cubicBezTo>
                    <a:pt x="186" y="28"/>
                    <a:pt x="186" y="28"/>
                    <a:pt x="186" y="28"/>
                  </a:cubicBezTo>
                  <a:cubicBezTo>
                    <a:pt x="170" y="0"/>
                    <a:pt x="130" y="0"/>
                    <a:pt x="114" y="28"/>
                  </a:cubicBezTo>
                  <a:cubicBezTo>
                    <a:pt x="0" y="226"/>
                    <a:pt x="0" y="226"/>
                    <a:pt x="0" y="226"/>
                  </a:cubicBezTo>
                  <a:cubicBezTo>
                    <a:pt x="4" y="225"/>
                    <a:pt x="8" y="225"/>
                    <a:pt x="12" y="225"/>
                  </a:cubicBezTo>
                  <a:cubicBezTo>
                    <a:pt x="35" y="225"/>
                    <a:pt x="55" y="236"/>
                    <a:pt x="66" y="256"/>
                  </a:cubicBezTo>
                  <a:cubicBezTo>
                    <a:pt x="345" y="739"/>
                    <a:pt x="345" y="739"/>
                    <a:pt x="345" y="739"/>
                  </a:cubicBezTo>
                  <a:cubicBezTo>
                    <a:pt x="357" y="759"/>
                    <a:pt x="357" y="782"/>
                    <a:pt x="345" y="802"/>
                  </a:cubicBezTo>
                  <a:cubicBezTo>
                    <a:pt x="343" y="805"/>
                    <a:pt x="341" y="809"/>
                    <a:pt x="338" y="812"/>
                  </a:cubicBezTo>
                  <a:cubicBezTo>
                    <a:pt x="567" y="812"/>
                    <a:pt x="567" y="812"/>
                    <a:pt x="567" y="812"/>
                  </a:cubicBezTo>
                  <a:cubicBezTo>
                    <a:pt x="599" y="812"/>
                    <a:pt x="619" y="777"/>
                    <a:pt x="603" y="750"/>
                  </a:cubicBezTo>
                  <a:close/>
                </a:path>
              </a:pathLst>
            </a:custGeom>
            <a:solidFill>
              <a:srgbClr val="00A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Freeform 82">
              <a:extLst>
                <a:ext uri="{FF2B5EF4-FFF2-40B4-BE49-F238E27FC236}">
                  <a16:creationId xmlns:a16="http://schemas.microsoft.com/office/drawing/2014/main" id="{3A16213C-D8BA-DEA5-F59A-18406560003D}"/>
                </a:ext>
              </a:extLst>
            </p:cNvPr>
            <p:cNvSpPr>
              <a:spLocks/>
            </p:cNvSpPr>
            <p:nvPr/>
          </p:nvSpPr>
          <p:spPr bwMode="auto">
            <a:xfrm>
              <a:off x="5011738" y="3560763"/>
              <a:ext cx="2805113" cy="2428875"/>
            </a:xfrm>
            <a:custGeom>
              <a:avLst/>
              <a:gdLst>
                <a:gd name="T0" fmla="*/ 16 w 661"/>
                <a:gd name="T1" fmla="*/ 511 h 573"/>
                <a:gd name="T2" fmla="*/ 295 w 661"/>
                <a:gd name="T3" fmla="*/ 28 h 573"/>
                <a:gd name="T4" fmla="*/ 367 w 661"/>
                <a:gd name="T5" fmla="*/ 28 h 573"/>
                <a:gd name="T6" fmla="*/ 645 w 661"/>
                <a:gd name="T7" fmla="*/ 511 h 573"/>
                <a:gd name="T8" fmla="*/ 610 w 661"/>
                <a:gd name="T9" fmla="*/ 573 h 573"/>
                <a:gd name="T10" fmla="*/ 52 w 661"/>
                <a:gd name="T11" fmla="*/ 573 h 573"/>
                <a:gd name="T12" fmla="*/ 16 w 661"/>
                <a:gd name="T13" fmla="*/ 511 h 573"/>
              </a:gdLst>
              <a:ahLst/>
              <a:cxnLst>
                <a:cxn ang="0">
                  <a:pos x="T0" y="T1"/>
                </a:cxn>
                <a:cxn ang="0">
                  <a:pos x="T2" y="T3"/>
                </a:cxn>
                <a:cxn ang="0">
                  <a:pos x="T4" y="T5"/>
                </a:cxn>
                <a:cxn ang="0">
                  <a:pos x="T6" y="T7"/>
                </a:cxn>
                <a:cxn ang="0">
                  <a:pos x="T8" y="T9"/>
                </a:cxn>
                <a:cxn ang="0">
                  <a:pos x="T10" y="T11"/>
                </a:cxn>
                <a:cxn ang="0">
                  <a:pos x="T12" y="T13"/>
                </a:cxn>
              </a:cxnLst>
              <a:rect l="0" t="0" r="r" b="b"/>
              <a:pathLst>
                <a:path w="661" h="573">
                  <a:moveTo>
                    <a:pt x="16" y="511"/>
                  </a:moveTo>
                  <a:cubicBezTo>
                    <a:pt x="295" y="28"/>
                    <a:pt x="295" y="28"/>
                    <a:pt x="295" y="28"/>
                  </a:cubicBezTo>
                  <a:cubicBezTo>
                    <a:pt x="311" y="0"/>
                    <a:pt x="351" y="0"/>
                    <a:pt x="367" y="28"/>
                  </a:cubicBezTo>
                  <a:cubicBezTo>
                    <a:pt x="645" y="511"/>
                    <a:pt x="645" y="511"/>
                    <a:pt x="645" y="511"/>
                  </a:cubicBezTo>
                  <a:cubicBezTo>
                    <a:pt x="661" y="538"/>
                    <a:pt x="642" y="573"/>
                    <a:pt x="610" y="573"/>
                  </a:cubicBezTo>
                  <a:cubicBezTo>
                    <a:pt x="52" y="573"/>
                    <a:pt x="52" y="573"/>
                    <a:pt x="52" y="573"/>
                  </a:cubicBezTo>
                  <a:cubicBezTo>
                    <a:pt x="20" y="573"/>
                    <a:pt x="0" y="538"/>
                    <a:pt x="16" y="511"/>
                  </a:cubicBezTo>
                  <a:close/>
                </a:path>
              </a:pathLst>
            </a:custGeom>
            <a:solidFill>
              <a:srgbClr val="74C2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54" name="Rectangle 90">
            <a:extLst>
              <a:ext uri="{FF2B5EF4-FFF2-40B4-BE49-F238E27FC236}">
                <a16:creationId xmlns:a16="http://schemas.microsoft.com/office/drawing/2014/main" id="{F5188100-E5E7-6727-56EF-272208393536}"/>
              </a:ext>
            </a:extLst>
          </p:cNvPr>
          <p:cNvSpPr>
            <a:spLocks noChangeArrowheads="1"/>
          </p:cNvSpPr>
          <p:nvPr/>
        </p:nvSpPr>
        <p:spPr bwMode="auto">
          <a:xfrm>
            <a:off x="4912013" y="4107289"/>
            <a:ext cx="2678861"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1">
              <a:spcBef>
                <a:spcPts val="0"/>
              </a:spcBef>
              <a:spcAft>
                <a:spcPts val="0"/>
              </a:spcAft>
              <a:tabLst>
                <a:tab pos="914400" algn="l"/>
              </a:tabLst>
            </a:pPr>
            <a:r>
              <a:rPr lang="en-US" sz="1400" b="1">
                <a:effectLst/>
                <a:latin typeface="Calibri" panose="020F0502020204030204" pitchFamily="34" charset="0"/>
                <a:ea typeface="Times New Roman" panose="02020603050405020304" pitchFamily="18" charset="0"/>
                <a:cs typeface="Calibri" panose="020F0502020204030204" pitchFamily="34" charset="0"/>
              </a:rPr>
              <a:t>Conduct </a:t>
            </a:r>
            <a:r>
              <a:rPr lang="en-US" sz="1400" b="1">
                <a:latin typeface="Calibri" panose="020F0502020204030204" pitchFamily="34" charset="0"/>
                <a:ea typeface="Times New Roman" panose="02020603050405020304" pitchFamily="18" charset="0"/>
                <a:cs typeface="Calibri" panose="020F0502020204030204" pitchFamily="34" charset="0"/>
              </a:rPr>
              <a:t>interviews and </a:t>
            </a:r>
            <a:r>
              <a:rPr lang="en-US" sz="1400" b="1">
                <a:effectLst/>
                <a:latin typeface="Calibri" panose="020F0502020204030204" pitchFamily="34" charset="0"/>
                <a:ea typeface="Times New Roman" panose="02020603050405020304" pitchFamily="18" charset="0"/>
                <a:cs typeface="Calibri" panose="020F0502020204030204" pitchFamily="34" charset="0"/>
              </a:rPr>
              <a:t>thorough review of data inventory sheet</a:t>
            </a:r>
            <a:r>
              <a:rPr lang="en-US" sz="1400" b="1">
                <a:latin typeface="Calibri" panose="020F0502020204030204" pitchFamily="34" charset="0"/>
                <a:ea typeface="Times New Roman" panose="02020603050405020304" pitchFamily="18" charset="0"/>
                <a:cs typeface="Calibri" panose="020F0502020204030204" pitchFamily="34" charset="0"/>
              </a:rPr>
              <a:t> </a:t>
            </a:r>
            <a:r>
              <a:rPr lang="en-US" sz="1400" b="1">
                <a:effectLst/>
                <a:latin typeface="Calibri" panose="020F0502020204030204" pitchFamily="34" charset="0"/>
                <a:ea typeface="Times New Roman" panose="02020603050405020304" pitchFamily="18" charset="0"/>
                <a:cs typeface="Calibri" panose="020F0502020204030204" pitchFamily="34" charset="0"/>
              </a:rPr>
              <a:t>to map all personal data flows within your organization</a:t>
            </a:r>
          </a:p>
        </p:txBody>
      </p:sp>
      <p:sp>
        <p:nvSpPr>
          <p:cNvPr id="55" name="Rectangle 75">
            <a:extLst>
              <a:ext uri="{FF2B5EF4-FFF2-40B4-BE49-F238E27FC236}">
                <a16:creationId xmlns:a16="http://schemas.microsoft.com/office/drawing/2014/main" id="{F27E89DA-7CE4-D584-05DD-AB923377C172}"/>
              </a:ext>
            </a:extLst>
          </p:cNvPr>
          <p:cNvSpPr>
            <a:spLocks noChangeArrowheads="1"/>
          </p:cNvSpPr>
          <p:nvPr/>
        </p:nvSpPr>
        <p:spPr bwMode="auto">
          <a:xfrm rot="3600000">
            <a:off x="8117130" y="5067340"/>
            <a:ext cx="25968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4000" b="1" i="0" u="none" strike="noStrike" cap="none" normalizeH="0" baseline="0">
                <a:ln>
                  <a:noFill/>
                </a:ln>
                <a:effectLst/>
                <a:latin typeface="Calibri" panose="020F0502020204030204" pitchFamily="34" charset="0"/>
                <a:cs typeface="Calibri" panose="020F0502020204030204" pitchFamily="34" charset="0"/>
              </a:rPr>
              <a:t>1</a:t>
            </a:r>
          </a:p>
        </p:txBody>
      </p:sp>
      <p:sp>
        <p:nvSpPr>
          <p:cNvPr id="57" name="Rectangle 75">
            <a:extLst>
              <a:ext uri="{FF2B5EF4-FFF2-40B4-BE49-F238E27FC236}">
                <a16:creationId xmlns:a16="http://schemas.microsoft.com/office/drawing/2014/main" id="{B339A2CC-6100-002C-56E0-BECDEC069C86}"/>
              </a:ext>
            </a:extLst>
          </p:cNvPr>
          <p:cNvSpPr>
            <a:spLocks noChangeArrowheads="1"/>
          </p:cNvSpPr>
          <p:nvPr/>
        </p:nvSpPr>
        <p:spPr bwMode="auto">
          <a:xfrm rot="3600000">
            <a:off x="9433827" y="4400343"/>
            <a:ext cx="25968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4000" b="1" i="0" u="none" strike="noStrike" cap="none" normalizeH="0" baseline="0">
                <a:ln>
                  <a:noFill/>
                </a:ln>
                <a:effectLst/>
                <a:latin typeface="Calibri" panose="020F0502020204030204" pitchFamily="34" charset="0"/>
                <a:cs typeface="Calibri" panose="020F0502020204030204" pitchFamily="34" charset="0"/>
              </a:rPr>
              <a:t>2</a:t>
            </a:r>
          </a:p>
        </p:txBody>
      </p:sp>
      <p:sp>
        <p:nvSpPr>
          <p:cNvPr id="58" name="Rectangle 75">
            <a:extLst>
              <a:ext uri="{FF2B5EF4-FFF2-40B4-BE49-F238E27FC236}">
                <a16:creationId xmlns:a16="http://schemas.microsoft.com/office/drawing/2014/main" id="{347FA3EE-25AC-D2DB-E3C5-D198E8CBBB56}"/>
              </a:ext>
            </a:extLst>
          </p:cNvPr>
          <p:cNvSpPr>
            <a:spLocks noChangeArrowheads="1"/>
          </p:cNvSpPr>
          <p:nvPr/>
        </p:nvSpPr>
        <p:spPr bwMode="auto">
          <a:xfrm rot="3600000">
            <a:off x="10357110" y="3820543"/>
            <a:ext cx="25968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4000" b="1" i="0" u="none" strike="noStrike" cap="none" normalizeH="0" baseline="0">
                <a:ln>
                  <a:noFill/>
                </a:ln>
                <a:effectLst/>
                <a:latin typeface="Calibri" panose="020F0502020204030204" pitchFamily="34" charset="0"/>
                <a:cs typeface="Calibri" panose="020F0502020204030204" pitchFamily="34" charset="0"/>
              </a:rPr>
              <a:t>3</a:t>
            </a:r>
          </a:p>
        </p:txBody>
      </p:sp>
      <p:cxnSp>
        <p:nvCxnSpPr>
          <p:cNvPr id="67" name="Straight Connector 66">
            <a:extLst>
              <a:ext uri="{FF2B5EF4-FFF2-40B4-BE49-F238E27FC236}">
                <a16:creationId xmlns:a16="http://schemas.microsoft.com/office/drawing/2014/main" id="{4EC979A1-E3B2-05C9-CB3D-9066C46480EA}"/>
              </a:ext>
            </a:extLst>
          </p:cNvPr>
          <p:cNvCxnSpPr/>
          <p:nvPr/>
        </p:nvCxnSpPr>
        <p:spPr>
          <a:xfrm flipH="1">
            <a:off x="5029200" y="3771134"/>
            <a:ext cx="2886309"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4119F29-8708-1A14-9B75-ED7256794FFA}"/>
              </a:ext>
            </a:extLst>
          </p:cNvPr>
          <p:cNvCxnSpPr>
            <a:cxnSpLocks/>
          </p:cNvCxnSpPr>
          <p:nvPr/>
        </p:nvCxnSpPr>
        <p:spPr>
          <a:xfrm flipH="1">
            <a:off x="5692128" y="2758738"/>
            <a:ext cx="2886309"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4119F29-8708-1A14-9B75-ED7256794FFA}"/>
              </a:ext>
            </a:extLst>
          </p:cNvPr>
          <p:cNvCxnSpPr>
            <a:cxnSpLocks/>
          </p:cNvCxnSpPr>
          <p:nvPr/>
        </p:nvCxnSpPr>
        <p:spPr>
          <a:xfrm flipH="1">
            <a:off x="6409656" y="1778001"/>
            <a:ext cx="2886309"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87929AD2-D115-994F-F71E-D2AE51752331}"/>
              </a:ext>
            </a:extLst>
          </p:cNvPr>
          <p:cNvSpPr txBox="1"/>
          <p:nvPr/>
        </p:nvSpPr>
        <p:spPr>
          <a:xfrm>
            <a:off x="5266435" y="2895604"/>
            <a:ext cx="2886309" cy="738664"/>
          </a:xfrm>
          <a:prstGeom prst="rect">
            <a:avLst/>
          </a:prstGeom>
          <a:noFill/>
        </p:spPr>
        <p:txBody>
          <a:bodyPr wrap="square">
            <a:spAutoFit/>
          </a:bodyPr>
          <a:lstStyle/>
          <a:p>
            <a:pPr marR="0" lvl="1">
              <a:spcBef>
                <a:spcPts val="0"/>
              </a:spcBef>
              <a:spcAft>
                <a:spcPts val="0"/>
              </a:spcAft>
              <a:tabLst>
                <a:tab pos="914400" algn="l"/>
              </a:tabLst>
            </a:pPr>
            <a:r>
              <a:rPr lang="en-AU" sz="1400" b="1">
                <a:effectLst/>
                <a:latin typeface="Calibri" panose="020F0502020204030204" pitchFamily="34" charset="0"/>
                <a:ea typeface="Times New Roman" panose="02020603050405020304" pitchFamily="18" charset="0"/>
                <a:cs typeface="Calibri" panose="020F0502020204030204" pitchFamily="34" charset="0"/>
              </a:rPr>
              <a:t>Properly organize personal data into distinct categories, processes and data flows</a:t>
            </a:r>
            <a:endParaRPr lang="en-US" sz="1400" b="1">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78" name="TextBox 77">
            <a:extLst>
              <a:ext uri="{FF2B5EF4-FFF2-40B4-BE49-F238E27FC236}">
                <a16:creationId xmlns:a16="http://schemas.microsoft.com/office/drawing/2014/main" id="{A4358346-B369-0C27-A467-A2F219C5466F}"/>
              </a:ext>
            </a:extLst>
          </p:cNvPr>
          <p:cNvSpPr txBox="1"/>
          <p:nvPr/>
        </p:nvSpPr>
        <p:spPr>
          <a:xfrm>
            <a:off x="6452392" y="1942434"/>
            <a:ext cx="2498325" cy="523220"/>
          </a:xfrm>
          <a:prstGeom prst="rect">
            <a:avLst/>
          </a:prstGeom>
          <a:noFill/>
        </p:spPr>
        <p:txBody>
          <a:bodyPr wrap="square" rtlCol="0">
            <a:spAutoFit/>
          </a:bodyPr>
          <a:lstStyle/>
          <a:p>
            <a:pPr marR="0" lvl="1">
              <a:spcBef>
                <a:spcPts val="0"/>
              </a:spcBef>
              <a:spcAft>
                <a:spcPts val="0"/>
              </a:spcAft>
              <a:tabLst>
                <a:tab pos="914400" algn="l"/>
              </a:tabLst>
            </a:pPr>
            <a:r>
              <a:rPr lang="en-US" sz="1400" b="1">
                <a:effectLst/>
                <a:latin typeface="Calibri" panose="020F0502020204030204" pitchFamily="34" charset="0"/>
                <a:ea typeface="Times New Roman" panose="02020603050405020304" pitchFamily="18" charset="0"/>
                <a:cs typeface="Calibri" panose="020F0502020204030204" pitchFamily="34" charset="0"/>
              </a:rPr>
              <a:t>Document your data processing activities</a:t>
            </a:r>
          </a:p>
        </p:txBody>
      </p:sp>
      <p:grpSp>
        <p:nvGrpSpPr>
          <p:cNvPr id="79" name="Group 78">
            <a:extLst>
              <a:ext uri="{FF2B5EF4-FFF2-40B4-BE49-F238E27FC236}">
                <a16:creationId xmlns:a16="http://schemas.microsoft.com/office/drawing/2014/main" id="{B4575EC9-D559-56B6-A92D-45417704C1F0}"/>
              </a:ext>
            </a:extLst>
          </p:cNvPr>
          <p:cNvGrpSpPr/>
          <p:nvPr/>
        </p:nvGrpSpPr>
        <p:grpSpPr>
          <a:xfrm>
            <a:off x="124410" y="4891648"/>
            <a:ext cx="4616297" cy="966936"/>
            <a:chOff x="613548" y="4707725"/>
            <a:chExt cx="6225191" cy="1278225"/>
          </a:xfrm>
        </p:grpSpPr>
        <p:sp>
          <p:nvSpPr>
            <p:cNvPr id="80" name="Rectangle: Rounded Corners 79">
              <a:extLst>
                <a:ext uri="{FF2B5EF4-FFF2-40B4-BE49-F238E27FC236}">
                  <a16:creationId xmlns:a16="http://schemas.microsoft.com/office/drawing/2014/main" id="{1F8C4790-335B-3320-B9AE-2849D709A40A}"/>
                </a:ext>
              </a:extLst>
            </p:cNvPr>
            <p:cNvSpPr/>
            <p:nvPr/>
          </p:nvSpPr>
          <p:spPr>
            <a:xfrm>
              <a:off x="613548" y="4707725"/>
              <a:ext cx="6225191" cy="1278225"/>
            </a:xfrm>
            <a:prstGeom prst="roundRect">
              <a:avLst/>
            </a:prstGeom>
            <a:noFill/>
            <a:ln w="28575">
              <a:solidFill>
                <a:srgbClr val="CCB7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a:ea typeface="+mn-ea"/>
                <a:cs typeface="+mn-cs"/>
              </a:endParaRPr>
            </a:p>
          </p:txBody>
        </p:sp>
        <p:sp>
          <p:nvSpPr>
            <p:cNvPr id="81" name="TextBox 80">
              <a:extLst>
                <a:ext uri="{FF2B5EF4-FFF2-40B4-BE49-F238E27FC236}">
                  <a16:creationId xmlns:a16="http://schemas.microsoft.com/office/drawing/2014/main" id="{37FB7804-2094-EEF2-0531-677A061090A6}"/>
                </a:ext>
              </a:extLst>
            </p:cNvPr>
            <p:cNvSpPr txBox="1"/>
            <p:nvPr/>
          </p:nvSpPr>
          <p:spPr>
            <a:xfrm>
              <a:off x="767281" y="4883818"/>
              <a:ext cx="6071458" cy="773034"/>
            </a:xfrm>
            <a:prstGeom prst="rect">
              <a:avLst/>
            </a:prstGeom>
            <a:noFill/>
            <a:ln>
              <a:noFill/>
            </a:ln>
          </p:spPr>
          <p:txBody>
            <a:bodyPr wrap="square" lIns="91440" tIns="45720" rIns="91440" bIns="4572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prstClr val="black"/>
                  </a:solidFill>
                  <a:effectLst/>
                  <a:uLnTx/>
                  <a:uFillTx/>
                  <a:latin typeface="Calibri"/>
                  <a:ea typeface="+mn-ea"/>
                  <a:cs typeface="+mn-cs"/>
                </a:rPr>
                <a:t>Deliverables:</a:t>
              </a:r>
              <a:endParaRPr kumimoji="0" lang="en-US" sz="1600" b="1" i="0" u="sng" strike="noStrike" kern="1200" cap="none" spc="0" normalizeH="0" baseline="0" noProof="0">
                <a:ln>
                  <a:noFill/>
                </a:ln>
                <a:solidFill>
                  <a:prstClr val="black"/>
                </a:solidFill>
                <a:effectLst/>
                <a:uLnTx/>
                <a:uFillTx/>
                <a:latin typeface="Calibri"/>
                <a:ea typeface="+mn-ea"/>
                <a:cs typeface="Calibri"/>
              </a:endParaRPr>
            </a:p>
            <a:p>
              <a:pPr marL="778679" lvl="1" indent="-321479" defTabSz="857277">
                <a:buFont typeface="Arial" panose="020B0604020202020204" pitchFamily="34" charset="0"/>
                <a:buChar char="•"/>
                <a:defRPr/>
              </a:pPr>
              <a:r>
                <a:rPr lang="en-US" sz="1600" err="1">
                  <a:latin typeface="Calibri"/>
                </a:rPr>
                <a:t>RoPA</a:t>
              </a:r>
              <a:r>
                <a:rPr lang="en-US" sz="1600">
                  <a:latin typeface="Calibri"/>
                </a:rPr>
                <a:t> sheet</a:t>
              </a:r>
            </a:p>
          </p:txBody>
        </p:sp>
      </p:grpSp>
    </p:spTree>
    <p:extLst>
      <p:ext uri="{BB962C8B-B14F-4D97-AF65-F5344CB8AC3E}">
        <p14:creationId xmlns:p14="http://schemas.microsoft.com/office/powerpoint/2010/main" val="418016889"/>
      </p:ext>
    </p:extLst>
  </p:cSld>
  <p:clrMapOvr>
    <a:masterClrMapping/>
  </p:clrMapOvr>
  <p:extLst>
    <p:ext uri="{6950BFC3-D8DA-4A85-94F7-54DA5524770B}">
      <p188:commentRel xmlns:p188="http://schemas.microsoft.com/office/powerpoint/2018/8/main" r:id="rId2"/>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20399" y="1656450"/>
            <a:ext cx="11890369" cy="584775"/>
          </a:xfrm>
          <a:prstGeom prst="rect">
            <a:avLst/>
          </a:prstGeom>
          <a:noFill/>
        </p:spPr>
        <p:txBody>
          <a:bodyPr wrap="square" rtlCol="0">
            <a:spAutoFit/>
          </a:bodyPr>
          <a:lstStyle/>
          <a:p>
            <a:pPr algn="just" defTabSz="857250">
              <a:defRPr/>
            </a:pPr>
            <a:r>
              <a:rPr lang="en-US" sz="1600" dirty="0">
                <a:solidFill>
                  <a:prstClr val="black"/>
                </a:solidFill>
                <a:latin typeface="Calibri"/>
              </a:rPr>
              <a:t>GRC360 consultants follows the following methodology to activate  </a:t>
            </a:r>
            <a:r>
              <a:rPr lang="en-US" sz="1600" b="1" dirty="0">
                <a:solidFill>
                  <a:prstClr val="black"/>
                </a:solidFill>
                <a:latin typeface="Calibri"/>
              </a:rPr>
              <a:t>Data</a:t>
            </a:r>
            <a:r>
              <a:rPr lang="en-US" sz="1600" dirty="0">
                <a:solidFill>
                  <a:prstClr val="black"/>
                </a:solidFill>
                <a:latin typeface="Calibri"/>
              </a:rPr>
              <a:t> </a:t>
            </a:r>
            <a:r>
              <a:rPr lang="en-US" sz="1600" b="1" dirty="0">
                <a:solidFill>
                  <a:prstClr val="black"/>
                </a:solidFill>
                <a:latin typeface="Calibri"/>
              </a:rPr>
              <a:t>Protection Impact Assessment</a:t>
            </a:r>
            <a:r>
              <a:rPr lang="en-US" sz="1600" dirty="0">
                <a:solidFill>
                  <a:prstClr val="black"/>
                </a:solidFill>
                <a:latin typeface="Calibri"/>
              </a:rPr>
              <a:t> for </a:t>
            </a:r>
            <a:r>
              <a:rPr lang="en-US" sz="1600" b="1"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lang="en-US" sz="1600" i="0" kern="1200" spc="0" baseline="0" dirty="0">
                <a:ln>
                  <a:noFill/>
                </a:ln>
                <a:solidFill>
                  <a:srgbClr val="000000"/>
                </a:solidFill>
                <a:effectLst/>
                <a:latin typeface="Calibri" panose="020F0502020204030204" pitchFamily="34" charset="0"/>
                <a:ea typeface="+mn-ea"/>
                <a:cs typeface="Sakkal Majalla" panose="02000000000000000000" pitchFamily="2" charset="-78"/>
              </a:rPr>
              <a:t>’s</a:t>
            </a:r>
            <a:r>
              <a:rPr lang="en-US" sz="1600" dirty="0">
                <a:solidFill>
                  <a:prstClr val="black"/>
                </a:solidFill>
                <a:latin typeface="Calibri"/>
              </a:rPr>
              <a:t> high-risk activities that risk data subject’s privacy rights.</a:t>
            </a:r>
          </a:p>
        </p:txBody>
      </p:sp>
      <p:sp>
        <p:nvSpPr>
          <p:cNvPr id="5" name="Text Placeholder 4">
            <a:extLst>
              <a:ext uri="{FF2B5EF4-FFF2-40B4-BE49-F238E27FC236}">
                <a16:creationId xmlns:a16="http://schemas.microsoft.com/office/drawing/2014/main" id="{F3AA55CC-B764-E02F-EE8C-101CE847D9CA}"/>
              </a:ext>
            </a:extLst>
          </p:cNvPr>
          <p:cNvSpPr>
            <a:spLocks noGrp="1"/>
          </p:cNvSpPr>
          <p:nvPr>
            <p:ph type="body" sz="quarter" idx="14"/>
          </p:nvPr>
        </p:nvSpPr>
        <p:spPr/>
        <p:txBody>
          <a:bodyPr>
            <a:normAutofit/>
          </a:bodyPr>
          <a:lstStyle/>
          <a:p>
            <a:r>
              <a:rPr lang="en-US" sz="3600"/>
              <a:t>5. DATA PROTECTION IMPACT ASSESSMENT</a:t>
            </a:r>
          </a:p>
        </p:txBody>
      </p:sp>
      <p:sp>
        <p:nvSpPr>
          <p:cNvPr id="9" name="Slide Number Placeholder 5">
            <a:extLst>
              <a:ext uri="{FF2B5EF4-FFF2-40B4-BE49-F238E27FC236}">
                <a16:creationId xmlns:a16="http://schemas.microsoft.com/office/drawing/2014/main" id="{9CDA330A-ED62-FAD3-1259-5E8A9A8E6C95}"/>
              </a:ext>
            </a:extLst>
          </p:cNvPr>
          <p:cNvSpPr>
            <a:spLocks noGrp="1"/>
          </p:cNvSpPr>
          <p:nvPr>
            <p:ph type="sldNum" sz="quarter" idx="4294967295"/>
          </p:nvPr>
        </p:nvSpPr>
        <p:spPr>
          <a:xfrm>
            <a:off x="10191750" y="6515100"/>
            <a:ext cx="2000250" cy="342900"/>
          </a:xfrm>
        </p:spPr>
        <p:txBody>
          <a:bodyPr/>
          <a:lstStyle/>
          <a:p>
            <a:pPr defTabSz="857250">
              <a:defRPr/>
            </a:pPr>
            <a:fld id="{B6F15528-21DE-4FAA-801E-634DDDAF4B2B}" type="slidenum">
              <a:rPr lang="en-US">
                <a:solidFill>
                  <a:prstClr val="black">
                    <a:tint val="75000"/>
                  </a:prstClr>
                </a:solidFill>
                <a:latin typeface="Calibri"/>
              </a:rPr>
              <a:pPr defTabSz="857250">
                <a:defRPr/>
              </a:pPr>
              <a:t>38</a:t>
            </a:fld>
            <a:endParaRPr lang="en-US">
              <a:solidFill>
                <a:prstClr val="black">
                  <a:tint val="75000"/>
                </a:prstClr>
              </a:solidFill>
              <a:latin typeface="Calibri"/>
            </a:endParaRPr>
          </a:p>
        </p:txBody>
      </p:sp>
      <p:grpSp>
        <p:nvGrpSpPr>
          <p:cNvPr id="4" name="Group 3">
            <a:extLst>
              <a:ext uri="{FF2B5EF4-FFF2-40B4-BE49-F238E27FC236}">
                <a16:creationId xmlns:a16="http://schemas.microsoft.com/office/drawing/2014/main" id="{6FEBCA46-930B-3FF3-759E-E5059C6798E2}"/>
              </a:ext>
            </a:extLst>
          </p:cNvPr>
          <p:cNvGrpSpPr/>
          <p:nvPr/>
        </p:nvGrpSpPr>
        <p:grpSpPr>
          <a:xfrm>
            <a:off x="9170258" y="2459187"/>
            <a:ext cx="2613289" cy="3500503"/>
            <a:chOff x="613548" y="4707725"/>
            <a:chExt cx="6225191" cy="1278225"/>
          </a:xfrm>
        </p:grpSpPr>
        <p:sp>
          <p:nvSpPr>
            <p:cNvPr id="2" name="Rectangle: Rounded Corners 1">
              <a:extLst>
                <a:ext uri="{FF2B5EF4-FFF2-40B4-BE49-F238E27FC236}">
                  <a16:creationId xmlns:a16="http://schemas.microsoft.com/office/drawing/2014/main" id="{5CB7DEF1-3AE0-09E9-21F2-DDF589CEF9A2}"/>
                </a:ext>
              </a:extLst>
            </p:cNvPr>
            <p:cNvSpPr/>
            <p:nvPr/>
          </p:nvSpPr>
          <p:spPr>
            <a:xfrm>
              <a:off x="613548" y="4707725"/>
              <a:ext cx="6225191" cy="1278225"/>
            </a:xfrm>
            <a:prstGeom prst="roundRect">
              <a:avLst/>
            </a:prstGeom>
            <a:noFill/>
            <a:ln w="28575">
              <a:solidFill>
                <a:srgbClr val="CCB7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7435980E-4755-1CBF-E860-0A2538A8F075}"/>
                </a:ext>
              </a:extLst>
            </p:cNvPr>
            <p:cNvSpPr txBox="1"/>
            <p:nvPr/>
          </p:nvSpPr>
          <p:spPr>
            <a:xfrm>
              <a:off x="767281" y="4883819"/>
              <a:ext cx="6071458" cy="303442"/>
            </a:xfrm>
            <a:prstGeom prst="rect">
              <a:avLst/>
            </a:prstGeom>
            <a:noFill/>
            <a:ln>
              <a:noFill/>
            </a:ln>
          </p:spPr>
          <p:txBody>
            <a:bodyPr wrap="square" lIns="91440" tIns="45720" rIns="91440" bIns="4572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prstClr val="black"/>
                  </a:solidFill>
                  <a:effectLst/>
                  <a:uLnTx/>
                  <a:uFillTx/>
                  <a:latin typeface="Calibri"/>
                  <a:ea typeface="+mn-ea"/>
                  <a:cs typeface="+mn-cs"/>
                </a:rPr>
                <a:t>Deliverables:</a:t>
              </a:r>
              <a:endParaRPr kumimoji="0" lang="en-US" sz="1600" b="1" i="0" u="sng" strike="noStrike" kern="1200" cap="none" spc="0" normalizeH="0" baseline="0" noProof="0">
                <a:ln>
                  <a:noFill/>
                </a:ln>
                <a:solidFill>
                  <a:prstClr val="black"/>
                </a:solidFill>
                <a:effectLst/>
                <a:uLnTx/>
                <a:uFillTx/>
                <a:latin typeface="Calibri"/>
                <a:ea typeface="+mn-ea"/>
                <a:cs typeface="Calibri"/>
              </a:endParaRPr>
            </a:p>
            <a:p>
              <a:pPr marL="321479" indent="-321479" defTabSz="857277">
                <a:buFont typeface="Arial" panose="020B0604020202020204" pitchFamily="34" charset="0"/>
                <a:buChar char="•"/>
                <a:defRPr/>
              </a:pPr>
              <a:r>
                <a:rPr lang="en-US" sz="1600">
                  <a:latin typeface="Calibri"/>
                </a:rPr>
                <a:t>Data Protection Impact Assessment Report</a:t>
              </a:r>
            </a:p>
          </p:txBody>
        </p:sp>
      </p:grpSp>
      <p:graphicFrame>
        <p:nvGraphicFramePr>
          <p:cNvPr id="10" name="Diagram 9">
            <a:extLst>
              <a:ext uri="{FF2B5EF4-FFF2-40B4-BE49-F238E27FC236}">
                <a16:creationId xmlns:a16="http://schemas.microsoft.com/office/drawing/2014/main" id="{739F620F-92BC-8C48-3970-96C7BFBB0F76}"/>
              </a:ext>
            </a:extLst>
          </p:cNvPr>
          <p:cNvGraphicFramePr/>
          <p:nvPr>
            <p:extLst>
              <p:ext uri="{D42A27DB-BD31-4B8C-83A1-F6EECF244321}">
                <p14:modId xmlns:p14="http://schemas.microsoft.com/office/powerpoint/2010/main" val="148952713"/>
              </p:ext>
            </p:extLst>
          </p:nvPr>
        </p:nvGraphicFramePr>
        <p:xfrm>
          <a:off x="777197" y="2414861"/>
          <a:ext cx="7884544" cy="35891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7722468"/>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8A01C-838E-3422-A1FD-8DAB2ED6CBCA}"/>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07AF394C-6468-4F54-58DC-4EFE29A8A6CE}"/>
              </a:ext>
            </a:extLst>
          </p:cNvPr>
          <p:cNvSpPr txBox="1"/>
          <p:nvPr/>
        </p:nvSpPr>
        <p:spPr>
          <a:xfrm>
            <a:off x="120399" y="1656450"/>
            <a:ext cx="11890369" cy="1323439"/>
          </a:xfrm>
          <a:prstGeom prst="rect">
            <a:avLst/>
          </a:prstGeom>
          <a:noFill/>
        </p:spPr>
        <p:txBody>
          <a:bodyPr wrap="square" rtlCol="0">
            <a:spAutoFit/>
          </a:bodyPr>
          <a:lstStyle/>
          <a:p>
            <a:pPr algn="just" defTabSz="857250">
              <a:defRPr/>
            </a:pPr>
            <a:r>
              <a:rPr lang="en-US" sz="1600">
                <a:solidFill>
                  <a:prstClr val="black"/>
                </a:solidFill>
                <a:latin typeface="Calibri"/>
              </a:rPr>
              <a:t>Once the DPIA is provided to the client , the GRC 360 Consultants shall reassess the status of compliance of the client after the documentation has been completed. The updated status will be reported through the compliance assessment report.</a:t>
            </a:r>
          </a:p>
          <a:p>
            <a:pPr algn="just" defTabSz="857250">
              <a:defRPr/>
            </a:pPr>
            <a:endParaRPr lang="en-US" sz="1600">
              <a:solidFill>
                <a:prstClr val="black"/>
              </a:solidFill>
              <a:latin typeface="Calibri"/>
            </a:endParaRPr>
          </a:p>
          <a:p>
            <a:pPr algn="just" defTabSz="857250">
              <a:defRPr/>
            </a:pPr>
            <a:r>
              <a:rPr lang="en-US" sz="1600">
                <a:solidFill>
                  <a:prstClr val="black"/>
                </a:solidFill>
                <a:latin typeface="Calibri"/>
              </a:rPr>
              <a:t>In continuation to the Compliance Assessment Report a Compliance Roadmap will be provided to ensure that </a:t>
            </a:r>
          </a:p>
          <a:p>
            <a:pPr algn="just" defTabSz="857250">
              <a:defRPr/>
            </a:pPr>
            <a:r>
              <a:rPr lang="en-US" sz="1600">
                <a:solidFill>
                  <a:prstClr val="black"/>
                </a:solidFill>
                <a:latin typeface="Calibri"/>
              </a:rPr>
              <a:t>The client is aware of the next steps it needs to take to ensure that it stays compliant with the PDPL.</a:t>
            </a:r>
          </a:p>
        </p:txBody>
      </p:sp>
      <p:sp>
        <p:nvSpPr>
          <p:cNvPr id="5" name="Text Placeholder 4">
            <a:extLst>
              <a:ext uri="{FF2B5EF4-FFF2-40B4-BE49-F238E27FC236}">
                <a16:creationId xmlns:a16="http://schemas.microsoft.com/office/drawing/2014/main" id="{899423A9-C158-CE5E-C90C-6E7D7B0637F7}"/>
              </a:ext>
            </a:extLst>
          </p:cNvPr>
          <p:cNvSpPr>
            <a:spLocks noGrp="1"/>
          </p:cNvSpPr>
          <p:nvPr>
            <p:ph type="body" sz="quarter" idx="14"/>
          </p:nvPr>
        </p:nvSpPr>
        <p:spPr/>
        <p:txBody>
          <a:bodyPr>
            <a:normAutofit/>
          </a:bodyPr>
          <a:lstStyle/>
          <a:p>
            <a:r>
              <a:rPr lang="en-US" sz="3600"/>
              <a:t>6. COMPLIANCE ASSESSMENT REPORT </a:t>
            </a:r>
          </a:p>
          <a:p>
            <a:r>
              <a:rPr lang="en-US" sz="3600"/>
              <a:t>     AND COMPLIANC ROADMAP </a:t>
            </a:r>
          </a:p>
        </p:txBody>
      </p:sp>
      <p:sp>
        <p:nvSpPr>
          <p:cNvPr id="9" name="Slide Number Placeholder 5">
            <a:extLst>
              <a:ext uri="{FF2B5EF4-FFF2-40B4-BE49-F238E27FC236}">
                <a16:creationId xmlns:a16="http://schemas.microsoft.com/office/drawing/2014/main" id="{C639EE82-E3CA-490F-A285-260BD7D1EC30}"/>
              </a:ext>
            </a:extLst>
          </p:cNvPr>
          <p:cNvSpPr>
            <a:spLocks noGrp="1"/>
          </p:cNvSpPr>
          <p:nvPr>
            <p:ph type="sldNum" sz="quarter" idx="4294967295"/>
          </p:nvPr>
        </p:nvSpPr>
        <p:spPr>
          <a:xfrm>
            <a:off x="10191750" y="6515100"/>
            <a:ext cx="2000250" cy="342900"/>
          </a:xfrm>
        </p:spPr>
        <p:txBody>
          <a:bodyPr/>
          <a:lstStyle/>
          <a:p>
            <a:pPr defTabSz="857250">
              <a:defRPr/>
            </a:pPr>
            <a:fld id="{B6F15528-21DE-4FAA-801E-634DDDAF4B2B}" type="slidenum">
              <a:rPr lang="en-US">
                <a:solidFill>
                  <a:prstClr val="black">
                    <a:tint val="75000"/>
                  </a:prstClr>
                </a:solidFill>
                <a:latin typeface="Calibri"/>
              </a:rPr>
              <a:pPr defTabSz="857250">
                <a:defRPr/>
              </a:pPr>
              <a:t>39</a:t>
            </a:fld>
            <a:endParaRPr lang="en-US">
              <a:solidFill>
                <a:prstClr val="black">
                  <a:tint val="75000"/>
                </a:prstClr>
              </a:solidFill>
              <a:latin typeface="Calibri"/>
            </a:endParaRPr>
          </a:p>
        </p:txBody>
      </p:sp>
      <p:grpSp>
        <p:nvGrpSpPr>
          <p:cNvPr id="4" name="Group 3">
            <a:extLst>
              <a:ext uri="{FF2B5EF4-FFF2-40B4-BE49-F238E27FC236}">
                <a16:creationId xmlns:a16="http://schemas.microsoft.com/office/drawing/2014/main" id="{92C696AE-AC14-B2BE-0926-1EAC35589A40}"/>
              </a:ext>
            </a:extLst>
          </p:cNvPr>
          <p:cNvGrpSpPr/>
          <p:nvPr/>
        </p:nvGrpSpPr>
        <p:grpSpPr>
          <a:xfrm>
            <a:off x="9170258" y="2459187"/>
            <a:ext cx="2613289" cy="3500503"/>
            <a:chOff x="613548" y="4707725"/>
            <a:chExt cx="6225191" cy="1278225"/>
          </a:xfrm>
        </p:grpSpPr>
        <p:sp>
          <p:nvSpPr>
            <p:cNvPr id="2" name="Rectangle: Rounded Corners 1">
              <a:extLst>
                <a:ext uri="{FF2B5EF4-FFF2-40B4-BE49-F238E27FC236}">
                  <a16:creationId xmlns:a16="http://schemas.microsoft.com/office/drawing/2014/main" id="{1F80CBBD-FFE5-5C57-18D8-4D10715267F3}"/>
                </a:ext>
              </a:extLst>
            </p:cNvPr>
            <p:cNvSpPr/>
            <p:nvPr/>
          </p:nvSpPr>
          <p:spPr>
            <a:xfrm>
              <a:off x="613548" y="4707725"/>
              <a:ext cx="6225191" cy="1278225"/>
            </a:xfrm>
            <a:prstGeom prst="roundRect">
              <a:avLst/>
            </a:prstGeom>
            <a:noFill/>
            <a:ln w="28575">
              <a:solidFill>
                <a:srgbClr val="CCB7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FDD792E-E5C9-BB6F-725C-D07C8C6C5692}"/>
                </a:ext>
              </a:extLst>
            </p:cNvPr>
            <p:cNvSpPr txBox="1"/>
            <p:nvPr/>
          </p:nvSpPr>
          <p:spPr>
            <a:xfrm>
              <a:off x="767281" y="4883819"/>
              <a:ext cx="6071458" cy="393351"/>
            </a:xfrm>
            <a:prstGeom prst="rect">
              <a:avLst/>
            </a:prstGeom>
            <a:noFill/>
            <a:ln>
              <a:noFill/>
            </a:ln>
          </p:spPr>
          <p:txBody>
            <a:bodyPr wrap="square" lIns="91440" tIns="45720" rIns="91440" bIns="4572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prstClr val="black"/>
                  </a:solidFill>
                  <a:effectLst/>
                  <a:uLnTx/>
                  <a:uFillTx/>
                  <a:latin typeface="Calibri"/>
                  <a:ea typeface="+mn-ea"/>
                  <a:cs typeface="+mn-cs"/>
                </a:rPr>
                <a:t>Deliverables:</a:t>
              </a:r>
              <a:endParaRPr kumimoji="0" lang="en-US" sz="1600" b="1" i="0" u="sng" strike="noStrike" kern="1200" cap="none" spc="0" normalizeH="0" baseline="0" noProof="0">
                <a:ln>
                  <a:noFill/>
                </a:ln>
                <a:solidFill>
                  <a:prstClr val="black"/>
                </a:solidFill>
                <a:effectLst/>
                <a:uLnTx/>
                <a:uFillTx/>
                <a:latin typeface="Calibri"/>
                <a:ea typeface="+mn-ea"/>
                <a:cs typeface="Calibri"/>
              </a:endParaRPr>
            </a:p>
            <a:p>
              <a:pPr marL="321479" indent="-321479" defTabSz="857277">
                <a:buFont typeface="Arial" panose="020B0604020202020204" pitchFamily="34" charset="0"/>
                <a:buChar char="•"/>
                <a:defRPr/>
              </a:pPr>
              <a:r>
                <a:rPr lang="en-US" sz="1600">
                  <a:latin typeface="Calibri"/>
                </a:rPr>
                <a:t>Compliance Assessment Report</a:t>
              </a:r>
            </a:p>
            <a:p>
              <a:pPr marL="321479" indent="-321479" defTabSz="857277">
                <a:buFont typeface="Arial" panose="020B0604020202020204" pitchFamily="34" charset="0"/>
                <a:buChar char="•"/>
                <a:defRPr/>
              </a:pPr>
              <a:r>
                <a:rPr lang="en-US" sz="1600">
                  <a:latin typeface="Calibri"/>
                </a:rPr>
                <a:t>Compliance Roadmap</a:t>
              </a:r>
            </a:p>
          </p:txBody>
        </p:sp>
      </p:grpSp>
    </p:spTree>
    <p:extLst>
      <p:ext uri="{BB962C8B-B14F-4D97-AF65-F5344CB8AC3E}">
        <p14:creationId xmlns:p14="http://schemas.microsoft.com/office/powerpoint/2010/main" val="448490151"/>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t="11" b="11"/>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normAutofit/>
          </a:bodyPr>
          <a:lstStyle/>
          <a:p>
            <a:r>
              <a:rPr lang="en-US" sz="3600"/>
              <a:t>ABOUT US</a:t>
            </a:r>
            <a:endParaRPr lang="en-GB" sz="3600"/>
          </a:p>
        </p:txBody>
      </p:sp>
      <p:sp>
        <p:nvSpPr>
          <p:cNvPr id="7" name="TextBox 8">
            <a:extLst>
              <a:ext uri="{FF2B5EF4-FFF2-40B4-BE49-F238E27FC236}">
                <a16:creationId xmlns:a16="http://schemas.microsoft.com/office/drawing/2014/main" id="{15C97D61-4FAC-9DF8-0CD8-8D49CC9EA0C7}"/>
              </a:ext>
            </a:extLst>
          </p:cNvPr>
          <p:cNvSpPr txBox="1"/>
          <p:nvPr/>
        </p:nvSpPr>
        <p:spPr>
          <a:xfrm>
            <a:off x="245215" y="1699509"/>
            <a:ext cx="7202483" cy="4795071"/>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algn="just" defTabSz="857250">
              <a:lnSpc>
                <a:spcPts val="2530"/>
              </a:lnSpc>
              <a:defRPr/>
            </a:pPr>
            <a:br>
              <a:rPr lang="en-US" sz="1600" spc="16">
                <a:solidFill>
                  <a:srgbClr val="000000"/>
                </a:solidFill>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kumimoji="0" lang="en-US" sz="16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kumimoji="0" lang="en-US" sz="16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9583929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18418" y="1698719"/>
            <a:ext cx="8435729" cy="646331"/>
          </a:xfrm>
          <a:prstGeom prst="rect">
            <a:avLst/>
          </a:prstGeom>
          <a:noFill/>
        </p:spPr>
        <p:txBody>
          <a:bodyPr wrap="square" rtlCol="0">
            <a:spAutoFit/>
          </a:bodyPr>
          <a:lstStyle/>
          <a:p>
            <a:pPr algn="just" defTabSz="857250">
              <a:defRPr/>
            </a:pPr>
            <a:r>
              <a:rPr lang="en-US">
                <a:solidFill>
                  <a:prstClr val="black"/>
                </a:solidFill>
                <a:latin typeface="Calibri"/>
              </a:rPr>
              <a:t>GRC360 has extensive experience in delivering training and awareness sessions to professionals, related to data protection and privacy.</a:t>
            </a:r>
            <a:endParaRPr lang="en-US" sz="2000">
              <a:solidFill>
                <a:prstClr val="black"/>
              </a:solidFill>
              <a:latin typeface="Calibri"/>
            </a:endParaRPr>
          </a:p>
        </p:txBody>
      </p:sp>
      <p:grpSp>
        <p:nvGrpSpPr>
          <p:cNvPr id="5" name="Group 4">
            <a:extLst>
              <a:ext uri="{FF2B5EF4-FFF2-40B4-BE49-F238E27FC236}">
                <a16:creationId xmlns:a16="http://schemas.microsoft.com/office/drawing/2014/main" id="{EEB152F6-76D3-5BBB-EA92-3E482C607B71}"/>
              </a:ext>
            </a:extLst>
          </p:cNvPr>
          <p:cNvGrpSpPr/>
          <p:nvPr/>
        </p:nvGrpSpPr>
        <p:grpSpPr>
          <a:xfrm>
            <a:off x="293584" y="2708578"/>
            <a:ext cx="8718742" cy="3120424"/>
            <a:chOff x="1753152" y="3139112"/>
            <a:chExt cx="8718742" cy="3120424"/>
          </a:xfrm>
        </p:grpSpPr>
        <p:grpSp>
          <p:nvGrpSpPr>
            <p:cNvPr id="38" name="그룹 7">
              <a:extLst>
                <a:ext uri="{FF2B5EF4-FFF2-40B4-BE49-F238E27FC236}">
                  <a16:creationId xmlns:a16="http://schemas.microsoft.com/office/drawing/2014/main" id="{E2BBF66E-AB4A-455E-937D-4BEEE9061393}"/>
                </a:ext>
              </a:extLst>
            </p:cNvPr>
            <p:cNvGrpSpPr/>
            <p:nvPr/>
          </p:nvGrpSpPr>
          <p:grpSpPr>
            <a:xfrm>
              <a:off x="4953001" y="4893838"/>
              <a:ext cx="1598313" cy="427010"/>
              <a:chOff x="5134372" y="3131004"/>
              <a:chExt cx="1431908" cy="315692"/>
            </a:xfrm>
          </p:grpSpPr>
          <p:sp>
            <p:nvSpPr>
              <p:cNvPr id="39" name="직사각형 6">
                <a:extLst>
                  <a:ext uri="{FF2B5EF4-FFF2-40B4-BE49-F238E27FC236}">
                    <a16:creationId xmlns:a16="http://schemas.microsoft.com/office/drawing/2014/main" id="{176449A1-948D-44AB-909F-DE912196310B}"/>
                  </a:ext>
                </a:extLst>
              </p:cNvPr>
              <p:cNvSpPr/>
              <p:nvPr/>
            </p:nvSpPr>
            <p:spPr>
              <a:xfrm>
                <a:off x="5208323" y="3177332"/>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sp>
            <p:nvSpPr>
              <p:cNvPr id="40" name="자유형: 도형 32">
                <a:extLst>
                  <a:ext uri="{FF2B5EF4-FFF2-40B4-BE49-F238E27FC236}">
                    <a16:creationId xmlns:a16="http://schemas.microsoft.com/office/drawing/2014/main" id="{F161A49F-9870-4CC9-898D-4C4313F3CFCC}"/>
                  </a:ext>
                </a:extLst>
              </p:cNvPr>
              <p:cNvSpPr/>
              <p:nvPr/>
            </p:nvSpPr>
            <p:spPr>
              <a:xfrm>
                <a:off x="5134372"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EE7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grpSp>
        <p:grpSp>
          <p:nvGrpSpPr>
            <p:cNvPr id="41" name="그룹 34">
              <a:extLst>
                <a:ext uri="{FF2B5EF4-FFF2-40B4-BE49-F238E27FC236}">
                  <a16:creationId xmlns:a16="http://schemas.microsoft.com/office/drawing/2014/main" id="{35E95096-8BB7-44E7-9E71-C69E3575DE38}"/>
                </a:ext>
              </a:extLst>
            </p:cNvPr>
            <p:cNvGrpSpPr/>
            <p:nvPr/>
          </p:nvGrpSpPr>
          <p:grpSpPr>
            <a:xfrm>
              <a:off x="5082788" y="5363182"/>
              <a:ext cx="1598313" cy="427010"/>
              <a:chOff x="5134372" y="3131004"/>
              <a:chExt cx="1431908" cy="315692"/>
            </a:xfrm>
          </p:grpSpPr>
          <p:sp>
            <p:nvSpPr>
              <p:cNvPr id="42" name="직사각형 6">
                <a:extLst>
                  <a:ext uri="{FF2B5EF4-FFF2-40B4-BE49-F238E27FC236}">
                    <a16:creationId xmlns:a16="http://schemas.microsoft.com/office/drawing/2014/main" id="{371A2AF0-E748-4D94-8A8C-009AA4FE201B}"/>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sp>
            <p:nvSpPr>
              <p:cNvPr id="43" name="자유형: 도형 36">
                <a:extLst>
                  <a:ext uri="{FF2B5EF4-FFF2-40B4-BE49-F238E27FC236}">
                    <a16:creationId xmlns:a16="http://schemas.microsoft.com/office/drawing/2014/main" id="{A56A59F9-E40F-4E2B-9E22-213A2987B1F6}"/>
                  </a:ext>
                </a:extLst>
              </p:cNvPr>
              <p:cNvSpPr/>
              <p:nvPr/>
            </p:nvSpPr>
            <p:spPr>
              <a:xfrm>
                <a:off x="5134372"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grpSp>
        <p:grpSp>
          <p:nvGrpSpPr>
            <p:cNvPr id="44" name="그룹 37">
              <a:extLst>
                <a:ext uri="{FF2B5EF4-FFF2-40B4-BE49-F238E27FC236}">
                  <a16:creationId xmlns:a16="http://schemas.microsoft.com/office/drawing/2014/main" id="{6C4F61BB-FD85-491A-BEF1-8ACEF118B187}"/>
                </a:ext>
              </a:extLst>
            </p:cNvPr>
            <p:cNvGrpSpPr/>
            <p:nvPr/>
          </p:nvGrpSpPr>
          <p:grpSpPr>
            <a:xfrm>
              <a:off x="4953001" y="5832526"/>
              <a:ext cx="1598313" cy="427010"/>
              <a:chOff x="5134372" y="3131004"/>
              <a:chExt cx="1431908" cy="315692"/>
            </a:xfrm>
          </p:grpSpPr>
          <p:sp>
            <p:nvSpPr>
              <p:cNvPr id="45" name="직사각형 6">
                <a:extLst>
                  <a:ext uri="{FF2B5EF4-FFF2-40B4-BE49-F238E27FC236}">
                    <a16:creationId xmlns:a16="http://schemas.microsoft.com/office/drawing/2014/main" id="{4804638B-6B06-410B-AF46-ADE26E9261F6}"/>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sp>
            <p:nvSpPr>
              <p:cNvPr id="46" name="자유형: 도형 39">
                <a:extLst>
                  <a:ext uri="{FF2B5EF4-FFF2-40B4-BE49-F238E27FC236}">
                    <a16:creationId xmlns:a16="http://schemas.microsoft.com/office/drawing/2014/main" id="{C15F90BE-0020-44E0-8D23-AF028F1F6A73}"/>
                  </a:ext>
                </a:extLst>
              </p:cNvPr>
              <p:cNvSpPr/>
              <p:nvPr/>
            </p:nvSpPr>
            <p:spPr>
              <a:xfrm>
                <a:off x="5134372"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grpSp>
        <p:sp>
          <p:nvSpPr>
            <p:cNvPr id="50" name="Freeform 1">
              <a:extLst>
                <a:ext uri="{FF2B5EF4-FFF2-40B4-BE49-F238E27FC236}">
                  <a16:creationId xmlns:a16="http://schemas.microsoft.com/office/drawing/2014/main" id="{D228C695-FC13-4B93-ABFD-AA197B3EB88A}"/>
                </a:ext>
              </a:extLst>
            </p:cNvPr>
            <p:cNvSpPr/>
            <p:nvPr/>
          </p:nvSpPr>
          <p:spPr>
            <a:xfrm>
              <a:off x="3805288" y="4869813"/>
              <a:ext cx="1404540" cy="250032"/>
            </a:xfrm>
            <a:custGeom>
              <a:avLst/>
              <a:gdLst>
                <a:gd name="connsiteX0" fmla="*/ 927100 w 927100"/>
                <a:gd name="connsiteY0" fmla="*/ 266700 h 266700"/>
                <a:gd name="connsiteX1" fmla="*/ 304800 w 927100"/>
                <a:gd name="connsiteY1" fmla="*/ 266700 h 266700"/>
                <a:gd name="connsiteX2" fmla="*/ 0 w 927100"/>
                <a:gd name="connsiteY2" fmla="*/ 266700 h 266700"/>
                <a:gd name="connsiteX3" fmla="*/ 0 w 927100"/>
                <a:gd name="connsiteY3" fmla="*/ 0 h 266700"/>
              </a:gdLst>
              <a:ahLst/>
              <a:cxnLst>
                <a:cxn ang="0">
                  <a:pos x="connsiteX0" y="connsiteY0"/>
                </a:cxn>
                <a:cxn ang="0">
                  <a:pos x="connsiteX1" y="connsiteY1"/>
                </a:cxn>
                <a:cxn ang="0">
                  <a:pos x="connsiteX2" y="connsiteY2"/>
                </a:cxn>
                <a:cxn ang="0">
                  <a:pos x="connsiteX3" y="connsiteY3"/>
                </a:cxn>
              </a:cxnLst>
              <a:rect l="l" t="t" r="r" b="b"/>
              <a:pathLst>
                <a:path w="927100" h="266700">
                  <a:moveTo>
                    <a:pt x="927100" y="266700"/>
                  </a:moveTo>
                  <a:lnTo>
                    <a:pt x="304800" y="266700"/>
                  </a:lnTo>
                  <a:lnTo>
                    <a:pt x="0" y="266700"/>
                  </a:lnTo>
                  <a:lnTo>
                    <a:pt x="0" y="0"/>
                  </a:lnTo>
                </a:path>
              </a:pathLst>
            </a:custGeom>
            <a:noFill/>
            <a:ln w="31750">
              <a:solidFill>
                <a:srgbClr val="EE7700"/>
              </a:solidFill>
              <a:headEnd type="oval" w="med" len="med"/>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sp>
          <p:nvSpPr>
            <p:cNvPr id="51" name="Freeform 43">
              <a:extLst>
                <a:ext uri="{FF2B5EF4-FFF2-40B4-BE49-F238E27FC236}">
                  <a16:creationId xmlns:a16="http://schemas.microsoft.com/office/drawing/2014/main" id="{985AD521-70EE-4B66-8FD9-37E3F71F07CE}"/>
                </a:ext>
              </a:extLst>
            </p:cNvPr>
            <p:cNvSpPr/>
            <p:nvPr/>
          </p:nvSpPr>
          <p:spPr>
            <a:xfrm>
              <a:off x="3805288" y="5810107"/>
              <a:ext cx="1404540" cy="250032"/>
            </a:xfrm>
            <a:custGeom>
              <a:avLst/>
              <a:gdLst>
                <a:gd name="connsiteX0" fmla="*/ 927100 w 927100"/>
                <a:gd name="connsiteY0" fmla="*/ 266700 h 266700"/>
                <a:gd name="connsiteX1" fmla="*/ 304800 w 927100"/>
                <a:gd name="connsiteY1" fmla="*/ 266700 h 266700"/>
                <a:gd name="connsiteX2" fmla="*/ 0 w 927100"/>
                <a:gd name="connsiteY2" fmla="*/ 266700 h 266700"/>
                <a:gd name="connsiteX3" fmla="*/ 0 w 927100"/>
                <a:gd name="connsiteY3" fmla="*/ 0 h 266700"/>
              </a:gdLst>
              <a:ahLst/>
              <a:cxnLst>
                <a:cxn ang="0">
                  <a:pos x="connsiteX0" y="connsiteY0"/>
                </a:cxn>
                <a:cxn ang="0">
                  <a:pos x="connsiteX1" y="connsiteY1"/>
                </a:cxn>
                <a:cxn ang="0">
                  <a:pos x="connsiteX2" y="connsiteY2"/>
                </a:cxn>
                <a:cxn ang="0">
                  <a:pos x="connsiteX3" y="connsiteY3"/>
                </a:cxn>
              </a:cxnLst>
              <a:rect l="l" t="t" r="r" b="b"/>
              <a:pathLst>
                <a:path w="927100" h="266700">
                  <a:moveTo>
                    <a:pt x="927100" y="266700"/>
                  </a:moveTo>
                  <a:lnTo>
                    <a:pt x="304800" y="266700"/>
                  </a:lnTo>
                  <a:lnTo>
                    <a:pt x="0" y="266700"/>
                  </a:lnTo>
                  <a:lnTo>
                    <a:pt x="0" y="0"/>
                  </a:lnTo>
                </a:path>
              </a:pathLst>
            </a:custGeom>
            <a:noFill/>
            <a:ln w="31750">
              <a:solidFill>
                <a:schemeClr val="accent2"/>
              </a:solidFill>
              <a:headEnd type="oval" w="med" len="med"/>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sp>
          <p:nvSpPr>
            <p:cNvPr id="52" name="Freeform 45">
              <a:extLst>
                <a:ext uri="{FF2B5EF4-FFF2-40B4-BE49-F238E27FC236}">
                  <a16:creationId xmlns:a16="http://schemas.microsoft.com/office/drawing/2014/main" id="{9055CD85-DF47-48AD-B7B0-059A099E47EA}"/>
                </a:ext>
              </a:extLst>
            </p:cNvPr>
            <p:cNvSpPr/>
            <p:nvPr/>
          </p:nvSpPr>
          <p:spPr>
            <a:xfrm flipH="1">
              <a:off x="6390381" y="5414194"/>
              <a:ext cx="1463040" cy="182880"/>
            </a:xfrm>
            <a:custGeom>
              <a:avLst/>
              <a:gdLst>
                <a:gd name="connsiteX0" fmla="*/ 927100 w 927100"/>
                <a:gd name="connsiteY0" fmla="*/ 266700 h 266700"/>
                <a:gd name="connsiteX1" fmla="*/ 304800 w 927100"/>
                <a:gd name="connsiteY1" fmla="*/ 266700 h 266700"/>
                <a:gd name="connsiteX2" fmla="*/ 0 w 927100"/>
                <a:gd name="connsiteY2" fmla="*/ 266700 h 266700"/>
                <a:gd name="connsiteX3" fmla="*/ 0 w 927100"/>
                <a:gd name="connsiteY3" fmla="*/ 0 h 266700"/>
              </a:gdLst>
              <a:ahLst/>
              <a:cxnLst>
                <a:cxn ang="0">
                  <a:pos x="connsiteX0" y="connsiteY0"/>
                </a:cxn>
                <a:cxn ang="0">
                  <a:pos x="connsiteX1" y="connsiteY1"/>
                </a:cxn>
                <a:cxn ang="0">
                  <a:pos x="connsiteX2" y="connsiteY2"/>
                </a:cxn>
                <a:cxn ang="0">
                  <a:pos x="connsiteX3" y="connsiteY3"/>
                </a:cxn>
              </a:cxnLst>
              <a:rect l="l" t="t" r="r" b="b"/>
              <a:pathLst>
                <a:path w="927100" h="266700">
                  <a:moveTo>
                    <a:pt x="927100" y="266700"/>
                  </a:moveTo>
                  <a:lnTo>
                    <a:pt x="304800" y="266700"/>
                  </a:lnTo>
                  <a:lnTo>
                    <a:pt x="0" y="266700"/>
                  </a:lnTo>
                  <a:lnTo>
                    <a:pt x="0" y="0"/>
                  </a:lnTo>
                </a:path>
              </a:pathLst>
            </a:custGeom>
            <a:noFill/>
            <a:ln w="31750">
              <a:solidFill>
                <a:srgbClr val="00B050"/>
              </a:solidFill>
              <a:headEnd type="oval" w="med" len="med"/>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grpSp>
          <p:nvGrpSpPr>
            <p:cNvPr id="54" name="Group 53">
              <a:extLst>
                <a:ext uri="{FF2B5EF4-FFF2-40B4-BE49-F238E27FC236}">
                  <a16:creationId xmlns:a16="http://schemas.microsoft.com/office/drawing/2014/main" id="{77674758-C4BA-43FA-9584-5442A723CCE1}"/>
                </a:ext>
              </a:extLst>
            </p:cNvPr>
            <p:cNvGrpSpPr/>
            <p:nvPr/>
          </p:nvGrpSpPr>
          <p:grpSpPr>
            <a:xfrm>
              <a:off x="7532769" y="4428222"/>
              <a:ext cx="2939125" cy="877163"/>
              <a:chOff x="1389001" y="1670317"/>
              <a:chExt cx="2358631" cy="935640"/>
            </a:xfrm>
          </p:grpSpPr>
          <p:sp>
            <p:nvSpPr>
              <p:cNvPr id="55" name="TextBox 54">
                <a:extLst>
                  <a:ext uri="{FF2B5EF4-FFF2-40B4-BE49-F238E27FC236}">
                    <a16:creationId xmlns:a16="http://schemas.microsoft.com/office/drawing/2014/main" id="{B61940FC-2C34-40F2-972C-3848766360EC}"/>
                  </a:ext>
                </a:extLst>
              </p:cNvPr>
              <p:cNvSpPr txBox="1"/>
              <p:nvPr/>
            </p:nvSpPr>
            <p:spPr>
              <a:xfrm>
                <a:off x="1393686" y="1916538"/>
                <a:ext cx="2075370" cy="689419"/>
              </a:xfrm>
              <a:prstGeom prst="rect">
                <a:avLst/>
              </a:prstGeom>
              <a:noFill/>
            </p:spPr>
            <p:txBody>
              <a:bodyPr wrap="square" rtlCol="0">
                <a:spAutoFit/>
              </a:bodyPr>
              <a:lstStyle/>
              <a:p>
                <a:pPr algn="just" defTabSz="857250">
                  <a:defRPr/>
                </a:pPr>
                <a:r>
                  <a:rPr lang="en-US" altLang="ko-KR" sz="1200">
                    <a:solidFill>
                      <a:prstClr val="black">
                        <a:lumMod val="75000"/>
                        <a:lumOff val="25000"/>
                      </a:prstClr>
                    </a:solidFill>
                    <a:ea typeface="맑은 고딕" panose="020B0503020000020004" pitchFamily="34" charset="-127"/>
                    <a:cs typeface="Arial" pitchFamily="34" charset="0"/>
                  </a:rPr>
                  <a:t>Design the relevant content of training program based on organization context and regulations guidance.</a:t>
                </a:r>
              </a:p>
            </p:txBody>
          </p:sp>
          <p:sp>
            <p:nvSpPr>
              <p:cNvPr id="56" name="TextBox 55">
                <a:extLst>
                  <a:ext uri="{FF2B5EF4-FFF2-40B4-BE49-F238E27FC236}">
                    <a16:creationId xmlns:a16="http://schemas.microsoft.com/office/drawing/2014/main" id="{D3480B07-9BC5-494F-BF4E-144F07A1B79B}"/>
                  </a:ext>
                </a:extLst>
              </p:cNvPr>
              <p:cNvSpPr txBox="1"/>
              <p:nvPr/>
            </p:nvSpPr>
            <p:spPr>
              <a:xfrm>
                <a:off x="1389001" y="1670317"/>
                <a:ext cx="2358631" cy="295465"/>
              </a:xfrm>
              <a:prstGeom prst="rect">
                <a:avLst/>
              </a:prstGeom>
              <a:noFill/>
            </p:spPr>
            <p:txBody>
              <a:bodyPr wrap="square" lIns="101250" rIns="101250" rtlCol="0">
                <a:spAutoFit/>
              </a:bodyPr>
              <a:lstStyle/>
              <a:p>
                <a:pPr defTabSz="857250">
                  <a:defRPr/>
                </a:pPr>
                <a:r>
                  <a:rPr lang="en-US" altLang="ko-KR" sz="1200" b="1">
                    <a:solidFill>
                      <a:prstClr val="black">
                        <a:lumMod val="95000"/>
                        <a:lumOff val="5000"/>
                      </a:prstClr>
                    </a:solidFill>
                    <a:ea typeface="맑은 고딕" panose="020B0503020000020004" pitchFamily="34" charset="-127"/>
                    <a:cs typeface="Arial" pitchFamily="34" charset="0"/>
                  </a:rPr>
                  <a:t>Develop</a:t>
                </a:r>
                <a:endParaRPr lang="ko-KR" altLang="en-US" sz="1200" b="1">
                  <a:solidFill>
                    <a:prstClr val="black">
                      <a:lumMod val="95000"/>
                      <a:lumOff val="5000"/>
                    </a:prstClr>
                  </a:solidFill>
                  <a:ea typeface="맑은 고딕" panose="020B0503020000020004" pitchFamily="34" charset="-127"/>
                  <a:cs typeface="Arial" pitchFamily="34" charset="0"/>
                </a:endParaRPr>
              </a:p>
            </p:txBody>
          </p:sp>
        </p:grpSp>
        <p:grpSp>
          <p:nvGrpSpPr>
            <p:cNvPr id="60" name="Group 59">
              <a:extLst>
                <a:ext uri="{FF2B5EF4-FFF2-40B4-BE49-F238E27FC236}">
                  <a16:creationId xmlns:a16="http://schemas.microsoft.com/office/drawing/2014/main" id="{93EB89FA-DF64-464C-9BF0-4C4A99B515FD}"/>
                </a:ext>
              </a:extLst>
            </p:cNvPr>
            <p:cNvGrpSpPr/>
            <p:nvPr/>
          </p:nvGrpSpPr>
          <p:grpSpPr>
            <a:xfrm>
              <a:off x="1753152" y="5309148"/>
              <a:ext cx="2430727" cy="877163"/>
              <a:chOff x="1389001" y="1670317"/>
              <a:chExt cx="2358631" cy="935640"/>
            </a:xfrm>
          </p:grpSpPr>
          <p:sp>
            <p:nvSpPr>
              <p:cNvPr id="61" name="TextBox 60">
                <a:extLst>
                  <a:ext uri="{FF2B5EF4-FFF2-40B4-BE49-F238E27FC236}">
                    <a16:creationId xmlns:a16="http://schemas.microsoft.com/office/drawing/2014/main" id="{7D3EF08E-640A-4386-8070-0202F0456777}"/>
                  </a:ext>
                </a:extLst>
              </p:cNvPr>
              <p:cNvSpPr txBox="1"/>
              <p:nvPr/>
            </p:nvSpPr>
            <p:spPr>
              <a:xfrm>
                <a:off x="1393686" y="1916538"/>
                <a:ext cx="1977217" cy="689419"/>
              </a:xfrm>
              <a:prstGeom prst="rect">
                <a:avLst/>
              </a:prstGeom>
              <a:noFill/>
            </p:spPr>
            <p:txBody>
              <a:bodyPr wrap="square" rtlCol="0">
                <a:spAutoFit/>
              </a:bodyPr>
              <a:lstStyle/>
              <a:p>
                <a:pPr algn="just" defTabSz="857250">
                  <a:defRPr/>
                </a:pPr>
                <a:r>
                  <a:rPr lang="en-US" altLang="ko-KR" sz="1200">
                    <a:solidFill>
                      <a:prstClr val="black">
                        <a:lumMod val="75000"/>
                        <a:lumOff val="25000"/>
                      </a:prstClr>
                    </a:solidFill>
                    <a:ea typeface="맑은 고딕" panose="020B0503020000020004" pitchFamily="34" charset="-127"/>
                    <a:cs typeface="Arial" pitchFamily="34" charset="0"/>
                  </a:rPr>
                  <a:t>Deliver the training session to all the relevant stakeholders of the Client</a:t>
                </a:r>
              </a:p>
            </p:txBody>
          </p:sp>
          <p:sp>
            <p:nvSpPr>
              <p:cNvPr id="62" name="TextBox 61">
                <a:extLst>
                  <a:ext uri="{FF2B5EF4-FFF2-40B4-BE49-F238E27FC236}">
                    <a16:creationId xmlns:a16="http://schemas.microsoft.com/office/drawing/2014/main" id="{89F8F761-5D1D-4112-8C2E-1039B6F90B47}"/>
                  </a:ext>
                </a:extLst>
              </p:cNvPr>
              <p:cNvSpPr txBox="1"/>
              <p:nvPr/>
            </p:nvSpPr>
            <p:spPr>
              <a:xfrm>
                <a:off x="1389001" y="1670317"/>
                <a:ext cx="2358631" cy="295465"/>
              </a:xfrm>
              <a:prstGeom prst="rect">
                <a:avLst/>
              </a:prstGeom>
              <a:noFill/>
            </p:spPr>
            <p:txBody>
              <a:bodyPr wrap="square" lIns="101250" rIns="101250" rtlCol="0">
                <a:spAutoFit/>
              </a:bodyPr>
              <a:lstStyle/>
              <a:p>
                <a:pPr defTabSz="857250">
                  <a:defRPr/>
                </a:pPr>
                <a:r>
                  <a:rPr lang="en-US" altLang="ko-KR" sz="1200" b="1">
                    <a:solidFill>
                      <a:prstClr val="black">
                        <a:lumMod val="95000"/>
                        <a:lumOff val="5000"/>
                      </a:prstClr>
                    </a:solidFill>
                    <a:ea typeface="맑은 고딕" panose="020B0503020000020004" pitchFamily="34" charset="-127"/>
                    <a:cs typeface="Arial" pitchFamily="34" charset="0"/>
                  </a:rPr>
                  <a:t>Deliver</a:t>
                </a:r>
              </a:p>
            </p:txBody>
          </p:sp>
        </p:grpSp>
        <p:grpSp>
          <p:nvGrpSpPr>
            <p:cNvPr id="63" name="Group 62">
              <a:extLst>
                <a:ext uri="{FF2B5EF4-FFF2-40B4-BE49-F238E27FC236}">
                  <a16:creationId xmlns:a16="http://schemas.microsoft.com/office/drawing/2014/main" id="{99EE43E8-0D49-420B-B702-BE702C3F1D4A}"/>
                </a:ext>
              </a:extLst>
            </p:cNvPr>
            <p:cNvGrpSpPr/>
            <p:nvPr/>
          </p:nvGrpSpPr>
          <p:grpSpPr>
            <a:xfrm>
              <a:off x="2370834" y="3859922"/>
              <a:ext cx="2502164" cy="877163"/>
              <a:chOff x="1389001" y="1670317"/>
              <a:chExt cx="2358631" cy="935641"/>
            </a:xfrm>
          </p:grpSpPr>
          <p:sp>
            <p:nvSpPr>
              <p:cNvPr id="64" name="TextBox 63">
                <a:extLst>
                  <a:ext uri="{FF2B5EF4-FFF2-40B4-BE49-F238E27FC236}">
                    <a16:creationId xmlns:a16="http://schemas.microsoft.com/office/drawing/2014/main" id="{DF3FDCE5-EEC2-4DF6-83BD-D5DA6749A326}"/>
                  </a:ext>
                </a:extLst>
              </p:cNvPr>
              <p:cNvSpPr txBox="1"/>
              <p:nvPr/>
            </p:nvSpPr>
            <p:spPr>
              <a:xfrm>
                <a:off x="1393685" y="1916538"/>
                <a:ext cx="2346159" cy="689420"/>
              </a:xfrm>
              <a:prstGeom prst="rect">
                <a:avLst/>
              </a:prstGeom>
              <a:noFill/>
            </p:spPr>
            <p:txBody>
              <a:bodyPr wrap="square" rtlCol="0">
                <a:spAutoFit/>
              </a:bodyPr>
              <a:lstStyle/>
              <a:p>
                <a:pPr algn="just" defTabSz="857250">
                  <a:defRPr/>
                </a:pPr>
                <a:r>
                  <a:rPr lang="en-US" altLang="ko-KR" sz="1200">
                    <a:solidFill>
                      <a:prstClr val="black">
                        <a:lumMod val="75000"/>
                        <a:lumOff val="25000"/>
                      </a:prstClr>
                    </a:solidFill>
                    <a:ea typeface="맑은 고딕" panose="020B0503020000020004" pitchFamily="34" charset="-127"/>
                    <a:cs typeface="Arial" pitchFamily="34" charset="0"/>
                  </a:rPr>
                  <a:t>Evaluate the prior knowledge and background of staff involved in the handling of personal data. </a:t>
                </a:r>
                <a:endParaRPr lang="en-US" altLang="ko-KR" sz="1200">
                  <a:solidFill>
                    <a:prstClr val="black">
                      <a:lumMod val="95000"/>
                      <a:lumOff val="5000"/>
                    </a:prstClr>
                  </a:solidFill>
                  <a:ea typeface="맑은 고딕" panose="020B0503020000020004" pitchFamily="34" charset="-127"/>
                  <a:cs typeface="Arial" pitchFamily="34" charset="0"/>
                </a:endParaRPr>
              </a:p>
            </p:txBody>
          </p:sp>
          <p:sp>
            <p:nvSpPr>
              <p:cNvPr id="65" name="TextBox 64">
                <a:extLst>
                  <a:ext uri="{FF2B5EF4-FFF2-40B4-BE49-F238E27FC236}">
                    <a16:creationId xmlns:a16="http://schemas.microsoft.com/office/drawing/2014/main" id="{82235FB0-9B1E-48DC-990A-BAF67F78D36B}"/>
                  </a:ext>
                </a:extLst>
              </p:cNvPr>
              <p:cNvSpPr txBox="1"/>
              <p:nvPr/>
            </p:nvSpPr>
            <p:spPr>
              <a:xfrm>
                <a:off x="1389001" y="1670317"/>
                <a:ext cx="2358631" cy="295466"/>
              </a:xfrm>
              <a:prstGeom prst="rect">
                <a:avLst/>
              </a:prstGeom>
              <a:noFill/>
            </p:spPr>
            <p:txBody>
              <a:bodyPr wrap="square" lIns="101250" rIns="101250" rtlCol="0">
                <a:spAutoFit/>
              </a:bodyPr>
              <a:lstStyle/>
              <a:p>
                <a:pPr defTabSz="857250">
                  <a:defRPr/>
                </a:pPr>
                <a:r>
                  <a:rPr lang="en-US" altLang="ko-KR" sz="1200" b="1">
                    <a:solidFill>
                      <a:prstClr val="black">
                        <a:lumMod val="95000"/>
                        <a:lumOff val="5000"/>
                      </a:prstClr>
                    </a:solidFill>
                    <a:ea typeface="맑은 고딕" panose="020B0503020000020004" pitchFamily="34" charset="-127"/>
                    <a:cs typeface="Arial" pitchFamily="34" charset="0"/>
                  </a:rPr>
                  <a:t>Assess</a:t>
                </a:r>
                <a:endParaRPr lang="ko-KR" altLang="en-US" sz="1200" b="1">
                  <a:solidFill>
                    <a:prstClr val="black">
                      <a:lumMod val="95000"/>
                      <a:lumOff val="5000"/>
                    </a:prstClr>
                  </a:solidFill>
                  <a:ea typeface="맑은 고딕" panose="020B0503020000020004" pitchFamily="34" charset="-127"/>
                  <a:cs typeface="Arial" pitchFamily="34" charset="0"/>
                </a:endParaRPr>
              </a:p>
            </p:txBody>
          </p:sp>
        </p:grpSp>
        <p:grpSp>
          <p:nvGrpSpPr>
            <p:cNvPr id="66" name="Group 65">
              <a:extLst>
                <a:ext uri="{FF2B5EF4-FFF2-40B4-BE49-F238E27FC236}">
                  <a16:creationId xmlns:a16="http://schemas.microsoft.com/office/drawing/2014/main" id="{A2BDA43C-7485-451E-AD3D-6B4EB1027455}"/>
                </a:ext>
              </a:extLst>
            </p:cNvPr>
            <p:cNvGrpSpPr/>
            <p:nvPr/>
          </p:nvGrpSpPr>
          <p:grpSpPr>
            <a:xfrm>
              <a:off x="6627594" y="3139112"/>
              <a:ext cx="3686121" cy="897881"/>
              <a:chOff x="2565020" y="1904904"/>
              <a:chExt cx="3116715" cy="750280"/>
            </a:xfrm>
          </p:grpSpPr>
          <p:sp>
            <p:nvSpPr>
              <p:cNvPr id="67" name="TextBox 66">
                <a:extLst>
                  <a:ext uri="{FF2B5EF4-FFF2-40B4-BE49-F238E27FC236}">
                    <a16:creationId xmlns:a16="http://schemas.microsoft.com/office/drawing/2014/main" id="{020C9A92-8285-4013-B168-954263265A46}"/>
                  </a:ext>
                </a:extLst>
              </p:cNvPr>
              <p:cNvSpPr txBox="1"/>
              <p:nvPr/>
            </p:nvSpPr>
            <p:spPr>
              <a:xfrm>
                <a:off x="2565020" y="2115102"/>
                <a:ext cx="3053859" cy="540082"/>
              </a:xfrm>
              <a:prstGeom prst="rect">
                <a:avLst/>
              </a:prstGeom>
              <a:noFill/>
            </p:spPr>
            <p:txBody>
              <a:bodyPr wrap="square" rtlCol="0">
                <a:spAutoFit/>
              </a:bodyPr>
              <a:lstStyle/>
              <a:p>
                <a:pPr algn="just" defTabSz="857250">
                  <a:defRPr/>
                </a:pPr>
                <a:r>
                  <a:rPr lang="en-US" altLang="ko-KR" sz="1200">
                    <a:solidFill>
                      <a:prstClr val="black">
                        <a:lumMod val="75000"/>
                        <a:lumOff val="25000"/>
                      </a:prstClr>
                    </a:solidFill>
                    <a:ea typeface="맑은 고딕" panose="020B0503020000020004" pitchFamily="34" charset="-127"/>
                    <a:cs typeface="Arial" pitchFamily="34" charset="0"/>
                  </a:rPr>
                  <a:t>Conducting training session based on our years of experience in training and consulting while providing guidance to our prestigious clients.</a:t>
                </a:r>
              </a:p>
            </p:txBody>
          </p:sp>
          <p:sp>
            <p:nvSpPr>
              <p:cNvPr id="68" name="TextBox 67">
                <a:extLst>
                  <a:ext uri="{FF2B5EF4-FFF2-40B4-BE49-F238E27FC236}">
                    <a16:creationId xmlns:a16="http://schemas.microsoft.com/office/drawing/2014/main" id="{035ACFF7-6ACF-41D7-8C71-16548A461344}"/>
                  </a:ext>
                </a:extLst>
              </p:cNvPr>
              <p:cNvSpPr txBox="1"/>
              <p:nvPr/>
            </p:nvSpPr>
            <p:spPr>
              <a:xfrm>
                <a:off x="2565020" y="1904904"/>
                <a:ext cx="3116715" cy="231464"/>
              </a:xfrm>
              <a:prstGeom prst="rect">
                <a:avLst/>
              </a:prstGeom>
              <a:noFill/>
            </p:spPr>
            <p:txBody>
              <a:bodyPr wrap="square" lIns="101250" rIns="101250" rtlCol="0">
                <a:spAutoFit/>
              </a:bodyPr>
              <a:lstStyle/>
              <a:p>
                <a:pPr defTabSz="857250">
                  <a:defRPr/>
                </a:pPr>
                <a:r>
                  <a:rPr lang="en-US" altLang="ko-KR" sz="1200" b="1">
                    <a:solidFill>
                      <a:prstClr val="black">
                        <a:lumMod val="95000"/>
                        <a:lumOff val="5000"/>
                      </a:prstClr>
                    </a:solidFill>
                    <a:ea typeface="맑은 고딕" panose="020B0503020000020004" pitchFamily="34" charset="-127"/>
                    <a:cs typeface="Arial" pitchFamily="34" charset="0"/>
                  </a:rPr>
                  <a:t>Privacy Training</a:t>
                </a:r>
                <a:endParaRPr lang="ko-KR" altLang="en-US" sz="1200" b="1">
                  <a:solidFill>
                    <a:prstClr val="black">
                      <a:lumMod val="95000"/>
                      <a:lumOff val="5000"/>
                    </a:prstClr>
                  </a:solidFill>
                  <a:ea typeface="맑은 고딕" panose="020B0503020000020004" pitchFamily="34" charset="-127"/>
                  <a:cs typeface="Arial" pitchFamily="34" charset="0"/>
                </a:endParaRPr>
              </a:p>
            </p:txBody>
          </p:sp>
        </p:grpSp>
        <p:sp>
          <p:nvSpPr>
            <p:cNvPr id="98" name="Freeform 4">
              <a:extLst>
                <a:ext uri="{FF2B5EF4-FFF2-40B4-BE49-F238E27FC236}">
                  <a16:creationId xmlns:a16="http://schemas.microsoft.com/office/drawing/2014/main" id="{92644304-27E8-43E8-8EEC-A55BC03CCEB9}"/>
                </a:ext>
              </a:extLst>
            </p:cNvPr>
            <p:cNvSpPr/>
            <p:nvPr/>
          </p:nvSpPr>
          <p:spPr>
            <a:xfrm>
              <a:off x="5811608" y="3318333"/>
              <a:ext cx="785813" cy="559595"/>
            </a:xfrm>
            <a:custGeom>
              <a:avLst/>
              <a:gdLst>
                <a:gd name="connsiteX0" fmla="*/ 0 w 838200"/>
                <a:gd name="connsiteY0" fmla="*/ 596900 h 596900"/>
                <a:gd name="connsiteX1" fmla="*/ 0 w 838200"/>
                <a:gd name="connsiteY1" fmla="*/ 0 h 596900"/>
                <a:gd name="connsiteX2" fmla="*/ 838200 w 838200"/>
                <a:gd name="connsiteY2" fmla="*/ 0 h 596900"/>
              </a:gdLst>
              <a:ahLst/>
              <a:cxnLst>
                <a:cxn ang="0">
                  <a:pos x="connsiteX0" y="connsiteY0"/>
                </a:cxn>
                <a:cxn ang="0">
                  <a:pos x="connsiteX1" y="connsiteY1"/>
                </a:cxn>
                <a:cxn ang="0">
                  <a:pos x="connsiteX2" y="connsiteY2"/>
                </a:cxn>
              </a:cxnLst>
              <a:rect l="l" t="t" r="r" b="b"/>
              <a:pathLst>
                <a:path w="838200" h="596900">
                  <a:moveTo>
                    <a:pt x="0" y="596900"/>
                  </a:moveTo>
                  <a:lnTo>
                    <a:pt x="0" y="0"/>
                  </a:lnTo>
                  <a:lnTo>
                    <a:pt x="838200" y="0"/>
                  </a:lnTo>
                </a:path>
              </a:pathLst>
            </a:custGeom>
            <a:noFill/>
            <a:ln w="31750">
              <a:solidFill>
                <a:srgbClr val="C00000"/>
              </a:solidFill>
              <a:headEnd type="oval" w="med" len="med"/>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grpSp>
          <p:nvGrpSpPr>
            <p:cNvPr id="99" name="그룹 14">
              <a:extLst>
                <a:ext uri="{FF2B5EF4-FFF2-40B4-BE49-F238E27FC236}">
                  <a16:creationId xmlns:a16="http://schemas.microsoft.com/office/drawing/2014/main" id="{4A3C8142-0B52-4D99-BED7-DBDF3308A30A}"/>
                </a:ext>
              </a:extLst>
            </p:cNvPr>
            <p:cNvGrpSpPr/>
            <p:nvPr/>
          </p:nvGrpSpPr>
          <p:grpSpPr>
            <a:xfrm>
              <a:off x="5384626" y="3624442"/>
              <a:ext cx="801477" cy="1259937"/>
              <a:chOff x="6163612" y="1966761"/>
              <a:chExt cx="2991257" cy="4702319"/>
            </a:xfrm>
          </p:grpSpPr>
          <p:sp>
            <p:nvSpPr>
              <p:cNvPr id="100" name="자유형: 도형 69">
                <a:extLst>
                  <a:ext uri="{FF2B5EF4-FFF2-40B4-BE49-F238E27FC236}">
                    <a16:creationId xmlns:a16="http://schemas.microsoft.com/office/drawing/2014/main" id="{0E080DFD-AE08-4000-8737-7C6F40338C7D}"/>
                  </a:ext>
                </a:extLst>
              </p:cNvPr>
              <p:cNvSpPr/>
              <p:nvPr/>
            </p:nvSpPr>
            <p:spPr>
              <a:xfrm>
                <a:off x="6316187" y="2135206"/>
                <a:ext cx="2653352" cy="2896349"/>
              </a:xfrm>
              <a:custGeom>
                <a:avLst/>
                <a:gdLst>
                  <a:gd name="connsiteX0" fmla="*/ 1146409 w 2292818"/>
                  <a:gd name="connsiteY0" fmla="*/ 0 h 2502797"/>
                  <a:gd name="connsiteX1" fmla="*/ 2292818 w 2292818"/>
                  <a:gd name="connsiteY1" fmla="*/ 1146409 h 2502797"/>
                  <a:gd name="connsiteX2" fmla="*/ 1692856 w 2292818"/>
                  <a:gd name="connsiteY2" fmla="*/ 2154453 h 2502797"/>
                  <a:gd name="connsiteX3" fmla="*/ 1686333 w 2292818"/>
                  <a:gd name="connsiteY3" fmla="*/ 2157595 h 2502797"/>
                  <a:gd name="connsiteX4" fmla="*/ 1625204 w 2292818"/>
                  <a:gd name="connsiteY4" fmla="*/ 2502797 h 2502797"/>
                  <a:gd name="connsiteX5" fmla="*/ 690116 w 2292818"/>
                  <a:gd name="connsiteY5" fmla="*/ 2502797 h 2502797"/>
                  <a:gd name="connsiteX6" fmla="*/ 631086 w 2292818"/>
                  <a:gd name="connsiteY6" fmla="*/ 2169446 h 2502797"/>
                  <a:gd name="connsiteX7" fmla="*/ 599963 w 2292818"/>
                  <a:gd name="connsiteY7" fmla="*/ 2154453 h 2502797"/>
                  <a:gd name="connsiteX8" fmla="*/ 0 w 2292818"/>
                  <a:gd name="connsiteY8" fmla="*/ 1146409 h 2502797"/>
                  <a:gd name="connsiteX9" fmla="*/ 1146409 w 2292818"/>
                  <a:gd name="connsiteY9" fmla="*/ 0 h 250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2818" h="2502797">
                    <a:moveTo>
                      <a:pt x="1146409" y="0"/>
                    </a:moveTo>
                    <a:cubicBezTo>
                      <a:pt x="1779553" y="0"/>
                      <a:pt x="2292818" y="513265"/>
                      <a:pt x="2292818" y="1146409"/>
                    </a:cubicBezTo>
                    <a:cubicBezTo>
                      <a:pt x="2292818" y="1581696"/>
                      <a:pt x="2050220" y="1960321"/>
                      <a:pt x="1692856" y="2154453"/>
                    </a:cubicBezTo>
                    <a:lnTo>
                      <a:pt x="1686333" y="2157595"/>
                    </a:lnTo>
                    <a:lnTo>
                      <a:pt x="1625204" y="2502797"/>
                    </a:lnTo>
                    <a:lnTo>
                      <a:pt x="690116" y="2502797"/>
                    </a:lnTo>
                    <a:lnTo>
                      <a:pt x="631086" y="2169446"/>
                    </a:lnTo>
                    <a:lnTo>
                      <a:pt x="599963" y="2154453"/>
                    </a:lnTo>
                    <a:cubicBezTo>
                      <a:pt x="242598" y="1960321"/>
                      <a:pt x="0" y="1581696"/>
                      <a:pt x="0" y="1146409"/>
                    </a:cubicBezTo>
                    <a:cubicBezTo>
                      <a:pt x="0" y="513265"/>
                      <a:pt x="513265" y="0"/>
                      <a:pt x="1146409" y="0"/>
                    </a:cubicBezTo>
                    <a:close/>
                  </a:path>
                </a:pathLst>
              </a:cu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sp>
            <p:nvSpPr>
              <p:cNvPr id="101" name="자유형: 도형 79">
                <a:extLst>
                  <a:ext uri="{FF2B5EF4-FFF2-40B4-BE49-F238E27FC236}">
                    <a16:creationId xmlns:a16="http://schemas.microsoft.com/office/drawing/2014/main" id="{08F38E15-A2EE-48FC-B1DA-1F3ACFFF875F}"/>
                  </a:ext>
                </a:extLst>
              </p:cNvPr>
              <p:cNvSpPr>
                <a:spLocks noChangeAspect="1"/>
              </p:cNvSpPr>
              <p:nvPr/>
            </p:nvSpPr>
            <p:spPr>
              <a:xfrm>
                <a:off x="6163612" y="1966761"/>
                <a:ext cx="2991257" cy="4702319"/>
              </a:xfrm>
              <a:custGeom>
                <a:avLst/>
                <a:gdLst>
                  <a:gd name="connsiteX0" fmla="*/ 951056 w 2991257"/>
                  <a:gd name="connsiteY0" fmla="*/ 4310393 h 4702319"/>
                  <a:gd name="connsiteX1" fmla="*/ 2052826 w 2991257"/>
                  <a:gd name="connsiteY1" fmla="*/ 4310393 h 4702319"/>
                  <a:gd name="connsiteX2" fmla="*/ 2052826 w 2991257"/>
                  <a:gd name="connsiteY2" fmla="*/ 4506356 h 4702319"/>
                  <a:gd name="connsiteX3" fmla="*/ 1501941 w 2991257"/>
                  <a:gd name="connsiteY3" fmla="*/ 4702319 h 4702319"/>
                  <a:gd name="connsiteX4" fmla="*/ 951056 w 2991257"/>
                  <a:gd name="connsiteY4" fmla="*/ 4506356 h 4702319"/>
                  <a:gd name="connsiteX5" fmla="*/ 953472 w 2991257"/>
                  <a:gd name="connsiteY5" fmla="*/ 3978828 h 4702319"/>
                  <a:gd name="connsiteX6" fmla="*/ 2050412 w 2991257"/>
                  <a:gd name="connsiteY6" fmla="*/ 3978828 h 4702319"/>
                  <a:gd name="connsiteX7" fmla="*/ 2152988 w 2991257"/>
                  <a:gd name="connsiteY7" fmla="*/ 4079172 h 4702319"/>
                  <a:gd name="connsiteX8" fmla="*/ 2152988 w 2991257"/>
                  <a:gd name="connsiteY8" fmla="*/ 4123466 h 4702319"/>
                  <a:gd name="connsiteX9" fmla="*/ 2050412 w 2991257"/>
                  <a:gd name="connsiteY9" fmla="*/ 4223810 h 4702319"/>
                  <a:gd name="connsiteX10" fmla="*/ 953472 w 2991257"/>
                  <a:gd name="connsiteY10" fmla="*/ 4223810 h 4702319"/>
                  <a:gd name="connsiteX11" fmla="*/ 850896 w 2991257"/>
                  <a:gd name="connsiteY11" fmla="*/ 4123466 h 4702319"/>
                  <a:gd name="connsiteX12" fmla="*/ 850896 w 2991257"/>
                  <a:gd name="connsiteY12" fmla="*/ 4079172 h 4702319"/>
                  <a:gd name="connsiteX13" fmla="*/ 953472 w 2991257"/>
                  <a:gd name="connsiteY13" fmla="*/ 3978828 h 4702319"/>
                  <a:gd name="connsiteX14" fmla="*/ 903390 w 2991257"/>
                  <a:gd name="connsiteY14" fmla="*/ 3647264 h 4702319"/>
                  <a:gd name="connsiteX15" fmla="*/ 2100491 w 2991257"/>
                  <a:gd name="connsiteY15" fmla="*/ 3647264 h 4702319"/>
                  <a:gd name="connsiteX16" fmla="*/ 2203068 w 2991257"/>
                  <a:gd name="connsiteY16" fmla="*/ 3747607 h 4702319"/>
                  <a:gd name="connsiteX17" fmla="*/ 2203068 w 2991257"/>
                  <a:gd name="connsiteY17" fmla="*/ 3791900 h 4702319"/>
                  <a:gd name="connsiteX18" fmla="*/ 2100491 w 2991257"/>
                  <a:gd name="connsiteY18" fmla="*/ 3892244 h 4702319"/>
                  <a:gd name="connsiteX19" fmla="*/ 903390 w 2991257"/>
                  <a:gd name="connsiteY19" fmla="*/ 3892244 h 4702319"/>
                  <a:gd name="connsiteX20" fmla="*/ 800815 w 2991257"/>
                  <a:gd name="connsiteY20" fmla="*/ 3791900 h 4702319"/>
                  <a:gd name="connsiteX21" fmla="*/ 800815 w 2991257"/>
                  <a:gd name="connsiteY21" fmla="*/ 3747607 h 4702319"/>
                  <a:gd name="connsiteX22" fmla="*/ 903390 w 2991257"/>
                  <a:gd name="connsiteY22" fmla="*/ 3647264 h 4702319"/>
                  <a:gd name="connsiteX23" fmla="*/ 853310 w 2991257"/>
                  <a:gd name="connsiteY23" fmla="*/ 3315698 h 4702319"/>
                  <a:gd name="connsiteX24" fmla="*/ 2150572 w 2991257"/>
                  <a:gd name="connsiteY24" fmla="*/ 3315698 h 4702319"/>
                  <a:gd name="connsiteX25" fmla="*/ 2253147 w 2991257"/>
                  <a:gd name="connsiteY25" fmla="*/ 3416042 h 4702319"/>
                  <a:gd name="connsiteX26" fmla="*/ 2253147 w 2991257"/>
                  <a:gd name="connsiteY26" fmla="*/ 3460336 h 4702319"/>
                  <a:gd name="connsiteX27" fmla="*/ 2150572 w 2991257"/>
                  <a:gd name="connsiteY27" fmla="*/ 3560680 h 4702319"/>
                  <a:gd name="connsiteX28" fmla="*/ 853310 w 2991257"/>
                  <a:gd name="connsiteY28" fmla="*/ 3560680 h 4702319"/>
                  <a:gd name="connsiteX29" fmla="*/ 750733 w 2991257"/>
                  <a:gd name="connsiteY29" fmla="*/ 3460336 h 4702319"/>
                  <a:gd name="connsiteX30" fmla="*/ 750733 w 2991257"/>
                  <a:gd name="connsiteY30" fmla="*/ 3416042 h 4702319"/>
                  <a:gd name="connsiteX31" fmla="*/ 853310 w 2991257"/>
                  <a:gd name="connsiteY31" fmla="*/ 3315698 h 4702319"/>
                  <a:gd name="connsiteX32" fmla="*/ 1386722 w 2991257"/>
                  <a:gd name="connsiteY32" fmla="*/ 1558904 h 4702319"/>
                  <a:gd name="connsiteX33" fmla="*/ 1267488 w 2991257"/>
                  <a:gd name="connsiteY33" fmla="*/ 1609721 h 4702319"/>
                  <a:gd name="connsiteX34" fmla="*/ 1167563 w 2991257"/>
                  <a:gd name="connsiteY34" fmla="*/ 1572653 h 4702319"/>
                  <a:gd name="connsiteX35" fmla="*/ 1400707 w 2991257"/>
                  <a:gd name="connsiteY35" fmla="*/ 3012633 h 4702319"/>
                  <a:gd name="connsiteX36" fmla="*/ 1492336 w 2991257"/>
                  <a:gd name="connsiteY36" fmla="*/ 3011914 h 4702319"/>
                  <a:gd name="connsiteX37" fmla="*/ 1492336 w 2991257"/>
                  <a:gd name="connsiteY37" fmla="*/ 3011864 h 4702319"/>
                  <a:gd name="connsiteX38" fmla="*/ 1495631 w 2991257"/>
                  <a:gd name="connsiteY38" fmla="*/ 3011889 h 4702319"/>
                  <a:gd name="connsiteX39" fmla="*/ 1498923 w 2991257"/>
                  <a:gd name="connsiteY39" fmla="*/ 3011864 h 4702319"/>
                  <a:gd name="connsiteX40" fmla="*/ 1498923 w 2991257"/>
                  <a:gd name="connsiteY40" fmla="*/ 3011914 h 4702319"/>
                  <a:gd name="connsiteX41" fmla="*/ 1589466 w 2991257"/>
                  <a:gd name="connsiteY41" fmla="*/ 3012625 h 4702319"/>
                  <a:gd name="connsiteX42" fmla="*/ 1819775 w 2991257"/>
                  <a:gd name="connsiteY42" fmla="*/ 1590148 h 4702319"/>
                  <a:gd name="connsiteX43" fmla="*/ 1744424 w 2991257"/>
                  <a:gd name="connsiteY43" fmla="*/ 1609721 h 4702319"/>
                  <a:gd name="connsiteX44" fmla="*/ 1625191 w 2991257"/>
                  <a:gd name="connsiteY44" fmla="*/ 1558904 h 4702319"/>
                  <a:gd name="connsiteX45" fmla="*/ 1505957 w 2991257"/>
                  <a:gd name="connsiteY45" fmla="*/ 1609721 h 4702319"/>
                  <a:gd name="connsiteX46" fmla="*/ 1386722 w 2991257"/>
                  <a:gd name="connsiteY46" fmla="*/ 1558904 h 4702319"/>
                  <a:gd name="connsiteX47" fmla="*/ 1492336 w 2991257"/>
                  <a:gd name="connsiteY47" fmla="*/ 296022 h 4702319"/>
                  <a:gd name="connsiteX48" fmla="*/ 274831 w 2991257"/>
                  <a:gd name="connsiteY48" fmla="*/ 1488534 h 4702319"/>
                  <a:gd name="connsiteX49" fmla="*/ 855798 w 2991257"/>
                  <a:gd name="connsiteY49" fmla="*/ 2574654 h 4702319"/>
                  <a:gd name="connsiteX50" fmla="*/ 1010657 w 2991257"/>
                  <a:gd name="connsiteY50" fmla="*/ 2878465 h 4702319"/>
                  <a:gd name="connsiteX51" fmla="*/ 1099844 w 2991257"/>
                  <a:gd name="connsiteY51" fmla="*/ 3014995 h 4702319"/>
                  <a:gd name="connsiteX52" fmla="*/ 1178890 w 2991257"/>
                  <a:gd name="connsiteY52" fmla="*/ 3014374 h 4702319"/>
                  <a:gd name="connsiteX53" fmla="*/ 912952 w 2991257"/>
                  <a:gd name="connsiteY53" fmla="*/ 1371837 h 4702319"/>
                  <a:gd name="connsiteX54" fmla="*/ 1002548 w 2991257"/>
                  <a:gd name="connsiteY54" fmla="*/ 1251201 h 4702319"/>
                  <a:gd name="connsiteX55" fmla="*/ 1006296 w 2991257"/>
                  <a:gd name="connsiteY55" fmla="*/ 1250621 h 4702319"/>
                  <a:gd name="connsiteX56" fmla="*/ 1124040 w 2991257"/>
                  <a:gd name="connsiteY56" fmla="*/ 1323612 h 4702319"/>
                  <a:gd name="connsiteX57" fmla="*/ 1267488 w 2991257"/>
                  <a:gd name="connsiteY57" fmla="*/ 1239026 h 4702319"/>
                  <a:gd name="connsiteX58" fmla="*/ 1386722 w 2991257"/>
                  <a:gd name="connsiteY58" fmla="*/ 1289845 h 4702319"/>
                  <a:gd name="connsiteX59" fmla="*/ 1505957 w 2991257"/>
                  <a:gd name="connsiteY59" fmla="*/ 1239026 h 4702319"/>
                  <a:gd name="connsiteX60" fmla="*/ 1625191 w 2991257"/>
                  <a:gd name="connsiteY60" fmla="*/ 1289845 h 4702319"/>
                  <a:gd name="connsiteX61" fmla="*/ 1744424 w 2991257"/>
                  <a:gd name="connsiteY61" fmla="*/ 1239026 h 4702319"/>
                  <a:gd name="connsiteX62" fmla="*/ 1873330 w 2991257"/>
                  <a:gd name="connsiteY62" fmla="*/ 1300835 h 4702319"/>
                  <a:gd name="connsiteX63" fmla="*/ 1984961 w 2991257"/>
                  <a:gd name="connsiteY63" fmla="*/ 1243910 h 4702319"/>
                  <a:gd name="connsiteX64" fmla="*/ 1988709 w 2991257"/>
                  <a:gd name="connsiteY64" fmla="*/ 1244491 h 4702319"/>
                  <a:gd name="connsiteX65" fmla="*/ 2078307 w 2991257"/>
                  <a:gd name="connsiteY65" fmla="*/ 1365125 h 4702319"/>
                  <a:gd name="connsiteX66" fmla="*/ 1811283 w 2991257"/>
                  <a:gd name="connsiteY66" fmla="*/ 3014366 h 4702319"/>
                  <a:gd name="connsiteX67" fmla="*/ 1891413 w 2991257"/>
                  <a:gd name="connsiteY67" fmla="*/ 3014995 h 4702319"/>
                  <a:gd name="connsiteX68" fmla="*/ 1980600 w 2991257"/>
                  <a:gd name="connsiteY68" fmla="*/ 2878465 h 4702319"/>
                  <a:gd name="connsiteX69" fmla="*/ 2135459 w 2991257"/>
                  <a:gd name="connsiteY69" fmla="*/ 2574654 h 4702319"/>
                  <a:gd name="connsiteX70" fmla="*/ 2716427 w 2991257"/>
                  <a:gd name="connsiteY70" fmla="*/ 1488534 h 4702319"/>
                  <a:gd name="connsiteX71" fmla="*/ 1498923 w 2991257"/>
                  <a:gd name="connsiteY71" fmla="*/ 296022 h 4702319"/>
                  <a:gd name="connsiteX72" fmla="*/ 1498923 w 2991257"/>
                  <a:gd name="connsiteY72" fmla="*/ 296319 h 4702319"/>
                  <a:gd name="connsiteX73" fmla="*/ 1495631 w 2991257"/>
                  <a:gd name="connsiteY73" fmla="*/ 296070 h 4702319"/>
                  <a:gd name="connsiteX74" fmla="*/ 1492336 w 2991257"/>
                  <a:gd name="connsiteY74" fmla="*/ 296319 h 4702319"/>
                  <a:gd name="connsiteX75" fmla="*/ 1492826 w 2991257"/>
                  <a:gd name="connsiteY75" fmla="*/ 0 h 4702319"/>
                  <a:gd name="connsiteX76" fmla="*/ 1495631 w 2991257"/>
                  <a:gd name="connsiteY76" fmla="*/ 211 h 4702319"/>
                  <a:gd name="connsiteX77" fmla="*/ 1498432 w 2991257"/>
                  <a:gd name="connsiteY77" fmla="*/ 0 h 4702319"/>
                  <a:gd name="connsiteX78" fmla="*/ 2991257 w 2991257"/>
                  <a:gd name="connsiteY78" fmla="*/ 1460348 h 4702319"/>
                  <a:gd name="connsiteX79" fmla="*/ 2279478 w 2991257"/>
                  <a:gd name="connsiteY79" fmla="*/ 2790647 h 4702319"/>
                  <a:gd name="connsiteX80" fmla="*/ 2207246 w 2991257"/>
                  <a:gd name="connsiteY80" fmla="*/ 3088369 h 4702319"/>
                  <a:gd name="connsiteX81" fmla="*/ 2016213 w 2991257"/>
                  <a:gd name="connsiteY81" fmla="*/ 3228140 h 4702319"/>
                  <a:gd name="connsiteX82" fmla="*/ 1495631 w 2991257"/>
                  <a:gd name="connsiteY82" fmla="*/ 3226317 h 4702319"/>
                  <a:gd name="connsiteX83" fmla="*/ 975044 w 2991257"/>
                  <a:gd name="connsiteY83" fmla="*/ 3228140 h 4702319"/>
                  <a:gd name="connsiteX84" fmla="*/ 784011 w 2991257"/>
                  <a:gd name="connsiteY84" fmla="*/ 3088369 h 4702319"/>
                  <a:gd name="connsiteX85" fmla="*/ 711780 w 2991257"/>
                  <a:gd name="connsiteY85" fmla="*/ 2790647 h 4702319"/>
                  <a:gd name="connsiteX86" fmla="*/ 0 w 2991257"/>
                  <a:gd name="connsiteY86" fmla="*/ 1460348 h 4702319"/>
                  <a:gd name="connsiteX87" fmla="*/ 1492826 w 2991257"/>
                  <a:gd name="connsiteY87" fmla="*/ 0 h 470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991257" h="4702319">
                    <a:moveTo>
                      <a:pt x="951056" y="4310393"/>
                    </a:moveTo>
                    <a:lnTo>
                      <a:pt x="2052826" y="4310393"/>
                    </a:lnTo>
                    <a:lnTo>
                      <a:pt x="2052826" y="4506356"/>
                    </a:lnTo>
                    <a:cubicBezTo>
                      <a:pt x="2052826" y="4614583"/>
                      <a:pt x="1806188" y="4702319"/>
                      <a:pt x="1501941" y="4702319"/>
                    </a:cubicBezTo>
                    <a:cubicBezTo>
                      <a:pt x="1197696" y="4702319"/>
                      <a:pt x="951056" y="4614583"/>
                      <a:pt x="951056" y="4506356"/>
                    </a:cubicBezTo>
                    <a:close/>
                    <a:moveTo>
                      <a:pt x="953472" y="3978828"/>
                    </a:moveTo>
                    <a:lnTo>
                      <a:pt x="2050412" y="3978828"/>
                    </a:lnTo>
                    <a:cubicBezTo>
                      <a:pt x="2107063" y="3978828"/>
                      <a:pt x="2152988" y="4023754"/>
                      <a:pt x="2152988" y="4079172"/>
                    </a:cubicBezTo>
                    <a:lnTo>
                      <a:pt x="2152988" y="4123466"/>
                    </a:lnTo>
                    <a:cubicBezTo>
                      <a:pt x="2152988" y="4178882"/>
                      <a:pt x="2107063" y="4223810"/>
                      <a:pt x="2050412" y="4223810"/>
                    </a:cubicBezTo>
                    <a:lnTo>
                      <a:pt x="953472" y="4223810"/>
                    </a:lnTo>
                    <a:cubicBezTo>
                      <a:pt x="896821" y="4223810"/>
                      <a:pt x="850896" y="4178882"/>
                      <a:pt x="850896" y="4123466"/>
                    </a:cubicBezTo>
                    <a:lnTo>
                      <a:pt x="850896" y="4079172"/>
                    </a:lnTo>
                    <a:cubicBezTo>
                      <a:pt x="850896" y="4023754"/>
                      <a:pt x="896821" y="3978828"/>
                      <a:pt x="953472" y="3978828"/>
                    </a:cubicBezTo>
                    <a:close/>
                    <a:moveTo>
                      <a:pt x="903390" y="3647264"/>
                    </a:moveTo>
                    <a:lnTo>
                      <a:pt x="2100491" y="3647264"/>
                    </a:lnTo>
                    <a:cubicBezTo>
                      <a:pt x="2157143" y="3647264"/>
                      <a:pt x="2203068" y="3692189"/>
                      <a:pt x="2203068" y="3747607"/>
                    </a:cubicBezTo>
                    <a:lnTo>
                      <a:pt x="2203068" y="3791900"/>
                    </a:lnTo>
                    <a:cubicBezTo>
                      <a:pt x="2203068" y="3847318"/>
                      <a:pt x="2157143" y="3892244"/>
                      <a:pt x="2100491" y="3892244"/>
                    </a:cubicBezTo>
                    <a:lnTo>
                      <a:pt x="903390" y="3892244"/>
                    </a:lnTo>
                    <a:cubicBezTo>
                      <a:pt x="846740" y="3892244"/>
                      <a:pt x="800815" y="3847318"/>
                      <a:pt x="800815" y="3791900"/>
                    </a:cubicBezTo>
                    <a:lnTo>
                      <a:pt x="800815" y="3747607"/>
                    </a:lnTo>
                    <a:cubicBezTo>
                      <a:pt x="800815" y="3692189"/>
                      <a:pt x="846740" y="3647264"/>
                      <a:pt x="903390" y="3647264"/>
                    </a:cubicBezTo>
                    <a:close/>
                    <a:moveTo>
                      <a:pt x="853310" y="3315698"/>
                    </a:moveTo>
                    <a:lnTo>
                      <a:pt x="2150572" y="3315698"/>
                    </a:lnTo>
                    <a:cubicBezTo>
                      <a:pt x="2207223" y="3315698"/>
                      <a:pt x="2253147" y="3360624"/>
                      <a:pt x="2253147" y="3416042"/>
                    </a:cubicBezTo>
                    <a:lnTo>
                      <a:pt x="2253147" y="3460336"/>
                    </a:lnTo>
                    <a:cubicBezTo>
                      <a:pt x="2253147" y="3515753"/>
                      <a:pt x="2207223" y="3560680"/>
                      <a:pt x="2150572" y="3560680"/>
                    </a:cubicBezTo>
                    <a:lnTo>
                      <a:pt x="853310" y="3560680"/>
                    </a:lnTo>
                    <a:cubicBezTo>
                      <a:pt x="796658" y="3560680"/>
                      <a:pt x="750733" y="3515753"/>
                      <a:pt x="750733" y="3460336"/>
                    </a:cubicBezTo>
                    <a:lnTo>
                      <a:pt x="750733" y="3416042"/>
                    </a:lnTo>
                    <a:cubicBezTo>
                      <a:pt x="750733" y="3360624"/>
                      <a:pt x="796658" y="3315698"/>
                      <a:pt x="853310" y="3315698"/>
                    </a:cubicBezTo>
                    <a:close/>
                    <a:moveTo>
                      <a:pt x="1386722" y="1558904"/>
                    </a:moveTo>
                    <a:cubicBezTo>
                      <a:pt x="1356097" y="1590701"/>
                      <a:pt x="1313897" y="1609721"/>
                      <a:pt x="1267488" y="1609721"/>
                    </a:cubicBezTo>
                    <a:cubicBezTo>
                      <a:pt x="1229461" y="1609721"/>
                      <a:pt x="1194258" y="1596950"/>
                      <a:pt x="1167563" y="1572653"/>
                    </a:cubicBezTo>
                    <a:lnTo>
                      <a:pt x="1400707" y="3012633"/>
                    </a:lnTo>
                    <a:lnTo>
                      <a:pt x="1492336" y="3011914"/>
                    </a:lnTo>
                    <a:lnTo>
                      <a:pt x="1492336" y="3011864"/>
                    </a:lnTo>
                    <a:lnTo>
                      <a:pt x="1495631" y="3011889"/>
                    </a:lnTo>
                    <a:lnTo>
                      <a:pt x="1498923" y="3011864"/>
                    </a:lnTo>
                    <a:lnTo>
                      <a:pt x="1498923" y="3011914"/>
                    </a:lnTo>
                    <a:lnTo>
                      <a:pt x="1589466" y="3012625"/>
                    </a:lnTo>
                    <a:lnTo>
                      <a:pt x="1819775" y="1590148"/>
                    </a:lnTo>
                    <a:cubicBezTo>
                      <a:pt x="1797467" y="1603167"/>
                      <a:pt x="1771670" y="1609721"/>
                      <a:pt x="1744424" y="1609721"/>
                    </a:cubicBezTo>
                    <a:cubicBezTo>
                      <a:pt x="1698015" y="1609721"/>
                      <a:pt x="1655815" y="1590701"/>
                      <a:pt x="1625191" y="1558904"/>
                    </a:cubicBezTo>
                    <a:cubicBezTo>
                      <a:pt x="1594564" y="1590701"/>
                      <a:pt x="1552364" y="1609721"/>
                      <a:pt x="1505957" y="1609721"/>
                    </a:cubicBezTo>
                    <a:cubicBezTo>
                      <a:pt x="1459548" y="1609721"/>
                      <a:pt x="1417348" y="1590701"/>
                      <a:pt x="1386722" y="1558904"/>
                    </a:cubicBezTo>
                    <a:close/>
                    <a:moveTo>
                      <a:pt x="1492336" y="296022"/>
                    </a:moveTo>
                    <a:cubicBezTo>
                      <a:pt x="819777" y="296795"/>
                      <a:pt x="274831" y="830410"/>
                      <a:pt x="274831" y="1488534"/>
                    </a:cubicBezTo>
                    <a:cubicBezTo>
                      <a:pt x="274831" y="1934058"/>
                      <a:pt x="599874" y="2373770"/>
                      <a:pt x="855798" y="2574654"/>
                    </a:cubicBezTo>
                    <a:cubicBezTo>
                      <a:pt x="972489" y="2706724"/>
                      <a:pt x="963238" y="2709431"/>
                      <a:pt x="1010657" y="2878465"/>
                    </a:cubicBezTo>
                    <a:cubicBezTo>
                      <a:pt x="1029549" y="2996988"/>
                      <a:pt x="991277" y="3008834"/>
                      <a:pt x="1099844" y="3014995"/>
                    </a:cubicBezTo>
                    <a:lnTo>
                      <a:pt x="1178890" y="3014374"/>
                    </a:lnTo>
                    <a:lnTo>
                      <a:pt x="912952" y="1371837"/>
                    </a:lnTo>
                    <a:cubicBezTo>
                      <a:pt x="903639" y="1314321"/>
                      <a:pt x="943753" y="1260311"/>
                      <a:pt x="1002548" y="1251201"/>
                    </a:cubicBezTo>
                    <a:lnTo>
                      <a:pt x="1006296" y="1250621"/>
                    </a:lnTo>
                    <a:cubicBezTo>
                      <a:pt x="1059733" y="1242341"/>
                      <a:pt x="1110210" y="1274002"/>
                      <a:pt x="1124040" y="1323612"/>
                    </a:cubicBezTo>
                    <a:cubicBezTo>
                      <a:pt x="1152654" y="1271953"/>
                      <a:pt x="1206429" y="1239026"/>
                      <a:pt x="1267488" y="1239026"/>
                    </a:cubicBezTo>
                    <a:cubicBezTo>
                      <a:pt x="1313897" y="1239026"/>
                      <a:pt x="1356097" y="1258048"/>
                      <a:pt x="1386722" y="1289845"/>
                    </a:cubicBezTo>
                    <a:cubicBezTo>
                      <a:pt x="1417348" y="1258048"/>
                      <a:pt x="1459548" y="1239026"/>
                      <a:pt x="1505957" y="1239026"/>
                    </a:cubicBezTo>
                    <a:cubicBezTo>
                      <a:pt x="1552364" y="1239026"/>
                      <a:pt x="1594564" y="1258048"/>
                      <a:pt x="1625191" y="1289845"/>
                    </a:cubicBezTo>
                    <a:cubicBezTo>
                      <a:pt x="1655815" y="1258048"/>
                      <a:pt x="1698015" y="1239026"/>
                      <a:pt x="1744424" y="1239026"/>
                    </a:cubicBezTo>
                    <a:cubicBezTo>
                      <a:pt x="1795987" y="1239026"/>
                      <a:pt x="1842359" y="1262509"/>
                      <a:pt x="1873330" y="1300835"/>
                    </a:cubicBezTo>
                    <a:cubicBezTo>
                      <a:pt x="1892646" y="1260564"/>
                      <a:pt x="1937643" y="1236578"/>
                      <a:pt x="1984961" y="1243910"/>
                    </a:cubicBezTo>
                    <a:lnTo>
                      <a:pt x="1988709" y="1244491"/>
                    </a:lnTo>
                    <a:cubicBezTo>
                      <a:pt x="2047506" y="1253600"/>
                      <a:pt x="2087618" y="1307610"/>
                      <a:pt x="2078307" y="1365125"/>
                    </a:cubicBezTo>
                    <a:lnTo>
                      <a:pt x="1811283" y="3014366"/>
                    </a:lnTo>
                    <a:lnTo>
                      <a:pt x="1891413" y="3014995"/>
                    </a:lnTo>
                    <a:cubicBezTo>
                      <a:pt x="1999980" y="3008834"/>
                      <a:pt x="1961709" y="2996988"/>
                      <a:pt x="1980600" y="2878465"/>
                    </a:cubicBezTo>
                    <a:cubicBezTo>
                      <a:pt x="2028019" y="2709431"/>
                      <a:pt x="2018769" y="2706724"/>
                      <a:pt x="2135459" y="2574654"/>
                    </a:cubicBezTo>
                    <a:cubicBezTo>
                      <a:pt x="2391383" y="2373770"/>
                      <a:pt x="2716427" y="1934058"/>
                      <a:pt x="2716427" y="1488534"/>
                    </a:cubicBezTo>
                    <a:cubicBezTo>
                      <a:pt x="2716427" y="830410"/>
                      <a:pt x="2171481" y="296795"/>
                      <a:pt x="1498923" y="296022"/>
                    </a:cubicBezTo>
                    <a:lnTo>
                      <a:pt x="1498923" y="296319"/>
                    </a:lnTo>
                    <a:lnTo>
                      <a:pt x="1495631" y="296070"/>
                    </a:lnTo>
                    <a:lnTo>
                      <a:pt x="1492336" y="296319"/>
                    </a:lnTo>
                    <a:close/>
                    <a:moveTo>
                      <a:pt x="1492826" y="0"/>
                    </a:moveTo>
                    <a:lnTo>
                      <a:pt x="1495631" y="211"/>
                    </a:lnTo>
                    <a:lnTo>
                      <a:pt x="1498432" y="0"/>
                    </a:lnTo>
                    <a:cubicBezTo>
                      <a:pt x="2322897" y="0"/>
                      <a:pt x="2991257" y="653819"/>
                      <a:pt x="2991257" y="1460348"/>
                    </a:cubicBezTo>
                    <a:cubicBezTo>
                      <a:pt x="2991257" y="2006129"/>
                      <a:pt x="2592903" y="2544781"/>
                      <a:pt x="2279478" y="2790647"/>
                    </a:cubicBezTo>
                    <a:cubicBezTo>
                      <a:pt x="2186103" y="2895884"/>
                      <a:pt x="2227311" y="2951181"/>
                      <a:pt x="2207246" y="3088369"/>
                    </a:cubicBezTo>
                    <a:cubicBezTo>
                      <a:pt x="2155081" y="3194275"/>
                      <a:pt x="2108422" y="3228140"/>
                      <a:pt x="2016213" y="3228140"/>
                    </a:cubicBezTo>
                    <a:lnTo>
                      <a:pt x="1495631" y="3226317"/>
                    </a:lnTo>
                    <a:lnTo>
                      <a:pt x="975044" y="3228140"/>
                    </a:lnTo>
                    <a:cubicBezTo>
                      <a:pt x="882838" y="3228140"/>
                      <a:pt x="836177" y="3194275"/>
                      <a:pt x="784011" y="3088369"/>
                    </a:cubicBezTo>
                    <a:cubicBezTo>
                      <a:pt x="763946" y="2951181"/>
                      <a:pt x="805155" y="2895884"/>
                      <a:pt x="711780" y="2790647"/>
                    </a:cubicBezTo>
                    <a:cubicBezTo>
                      <a:pt x="398354" y="2544781"/>
                      <a:pt x="0" y="2006129"/>
                      <a:pt x="0" y="1460348"/>
                    </a:cubicBezTo>
                    <a:cubicBezTo>
                      <a:pt x="0" y="653819"/>
                      <a:pt x="668362" y="0"/>
                      <a:pt x="1492826"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57250">
                  <a:defRPr/>
                </a:pPr>
                <a:endParaRPr lang="ko-KR" altLang="en-US" sz="2532">
                  <a:solidFill>
                    <a:prstClr val="white"/>
                  </a:solidFill>
                  <a:latin typeface="Arial" pitchFamily="34" charset="0"/>
                  <a:ea typeface="맑은 고딕" panose="020B0503020000020004" pitchFamily="34" charset="-127"/>
                  <a:cs typeface="Arial" pitchFamily="34" charset="0"/>
                </a:endParaRPr>
              </a:p>
            </p:txBody>
          </p:sp>
        </p:grpSp>
      </p:grpSp>
      <p:sp>
        <p:nvSpPr>
          <p:cNvPr id="69" name="Slide Number Placeholder 5">
            <a:extLst>
              <a:ext uri="{FF2B5EF4-FFF2-40B4-BE49-F238E27FC236}">
                <a16:creationId xmlns:a16="http://schemas.microsoft.com/office/drawing/2014/main" id="{4A8E5044-784C-FB1A-343F-18AA042ACAD3}"/>
              </a:ext>
            </a:extLst>
          </p:cNvPr>
          <p:cNvSpPr txBox="1">
            <a:spLocks/>
          </p:cNvSpPr>
          <p:nvPr/>
        </p:nvSpPr>
        <p:spPr>
          <a:xfrm>
            <a:off x="8659091" y="6515697"/>
            <a:ext cx="2000250" cy="342305"/>
          </a:xfrm>
          <a:prstGeom prst="rect">
            <a:avLst/>
          </a:prstGeom>
        </p:spPr>
        <p:txBody>
          <a:bodyPr vert="horz" lIns="85725" tIns="42863" rIns="85725" bIns="4286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57250">
              <a:defRPr/>
            </a:pPr>
            <a:fld id="{B6F15528-21DE-4FAA-801E-634DDDAF4B2B}" type="slidenum">
              <a:rPr lang="en-US" sz="1125">
                <a:solidFill>
                  <a:prstClr val="black">
                    <a:tint val="75000"/>
                  </a:prstClr>
                </a:solidFill>
                <a:latin typeface="Calibri"/>
              </a:rPr>
              <a:pPr defTabSz="857250">
                <a:defRPr/>
              </a:pPr>
              <a:t>40</a:t>
            </a:fld>
            <a:endParaRPr lang="en-US" sz="1125">
              <a:solidFill>
                <a:prstClr val="black">
                  <a:tint val="75000"/>
                </a:prstClr>
              </a:solidFill>
              <a:latin typeface="Calibri"/>
            </a:endParaRPr>
          </a:p>
        </p:txBody>
      </p:sp>
      <p:sp>
        <p:nvSpPr>
          <p:cNvPr id="4" name="Text Placeholder 3">
            <a:extLst>
              <a:ext uri="{FF2B5EF4-FFF2-40B4-BE49-F238E27FC236}">
                <a16:creationId xmlns:a16="http://schemas.microsoft.com/office/drawing/2014/main" id="{6D29B60C-FCFC-A991-489E-A8CF8C01D6DB}"/>
              </a:ext>
            </a:extLst>
          </p:cNvPr>
          <p:cNvSpPr>
            <a:spLocks noGrp="1"/>
          </p:cNvSpPr>
          <p:nvPr>
            <p:ph type="body" sz="quarter" idx="14"/>
          </p:nvPr>
        </p:nvSpPr>
        <p:spPr/>
        <p:txBody>
          <a:bodyPr/>
          <a:lstStyle/>
          <a:p>
            <a:r>
              <a:rPr lang="en-US" sz="4000"/>
              <a:t>7. TRAINING &amp; AWARENESS</a:t>
            </a:r>
          </a:p>
        </p:txBody>
      </p:sp>
      <p:grpSp>
        <p:nvGrpSpPr>
          <p:cNvPr id="9" name="Group 8">
            <a:extLst>
              <a:ext uri="{FF2B5EF4-FFF2-40B4-BE49-F238E27FC236}">
                <a16:creationId xmlns:a16="http://schemas.microsoft.com/office/drawing/2014/main" id="{627B0F6D-4071-61CD-3BF4-CB2DF1775B74}"/>
              </a:ext>
            </a:extLst>
          </p:cNvPr>
          <p:cNvGrpSpPr/>
          <p:nvPr/>
        </p:nvGrpSpPr>
        <p:grpSpPr>
          <a:xfrm>
            <a:off x="9148629" y="2152527"/>
            <a:ext cx="2608722" cy="3911877"/>
            <a:chOff x="9148629" y="2152527"/>
            <a:chExt cx="2608722" cy="3911877"/>
          </a:xfrm>
        </p:grpSpPr>
        <p:sp>
          <p:nvSpPr>
            <p:cNvPr id="7" name="Rectangle: Rounded Corners 6">
              <a:extLst>
                <a:ext uri="{FF2B5EF4-FFF2-40B4-BE49-F238E27FC236}">
                  <a16:creationId xmlns:a16="http://schemas.microsoft.com/office/drawing/2014/main" id="{E2188749-AACD-34E6-705F-B72AA28BB73C}"/>
                </a:ext>
              </a:extLst>
            </p:cNvPr>
            <p:cNvSpPr/>
            <p:nvPr/>
          </p:nvSpPr>
          <p:spPr>
            <a:xfrm>
              <a:off x="9148629" y="2152527"/>
              <a:ext cx="2608722" cy="3911877"/>
            </a:xfrm>
            <a:prstGeom prst="roundRect">
              <a:avLst/>
            </a:prstGeom>
            <a:noFill/>
            <a:ln w="28575">
              <a:solidFill>
                <a:srgbClr val="CCB7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D4DD55D3-EEE5-CBD5-30A3-0D9E2C775BE1}"/>
                </a:ext>
              </a:extLst>
            </p:cNvPr>
            <p:cNvSpPr txBox="1"/>
            <p:nvPr/>
          </p:nvSpPr>
          <p:spPr>
            <a:xfrm>
              <a:off x="9362941" y="2413790"/>
              <a:ext cx="2258107" cy="830997"/>
            </a:xfrm>
            <a:prstGeom prst="rect">
              <a:avLst/>
            </a:prstGeom>
            <a:noFill/>
            <a:ln>
              <a:noFill/>
            </a:ln>
          </p:spPr>
          <p:txBody>
            <a:bodyPr wrap="square" lIns="91440" tIns="45720" rIns="91440" bIns="4572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prstClr val="black"/>
                  </a:solidFill>
                  <a:effectLst/>
                  <a:uLnTx/>
                  <a:uFillTx/>
                  <a:latin typeface="Calibri"/>
                  <a:ea typeface="+mn-ea"/>
                  <a:cs typeface="+mn-cs"/>
                </a:rPr>
                <a:t>Deliverables:</a:t>
              </a:r>
            </a:p>
            <a:p>
              <a:pPr marL="285750" marR="0" lvl="0" indent="-285750" algn="l"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a:rPr>
                <a:t>Training and Awareness Session</a:t>
              </a:r>
              <a:endParaRPr kumimoji="0" lang="en-US" sz="1600" i="0" strike="noStrike" kern="1200" cap="none" spc="0" normalizeH="0" baseline="0" noProof="0">
                <a:ln>
                  <a:noFill/>
                </a:ln>
                <a:solidFill>
                  <a:prstClr val="black"/>
                </a:solidFill>
                <a:effectLst/>
                <a:uLnTx/>
                <a:uFillTx/>
                <a:latin typeface="Calibri"/>
                <a:ea typeface="+mn-ea"/>
                <a:cs typeface="Calibri"/>
              </a:endParaRPr>
            </a:p>
          </p:txBody>
        </p:sp>
      </p:grpSp>
    </p:spTree>
    <p:extLst>
      <p:ext uri="{BB962C8B-B14F-4D97-AF65-F5344CB8AC3E}">
        <p14:creationId xmlns:p14="http://schemas.microsoft.com/office/powerpoint/2010/main" val="14595743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normAutofit/>
          </a:bodyPr>
          <a:lstStyle/>
          <a:p>
            <a:r>
              <a:rPr lang="en-US" sz="3600"/>
              <a:t>PROJECT DELIVERABLES</a:t>
            </a:r>
            <a:endParaRPr lang="en-GB" sz="3600"/>
          </a:p>
        </p:txBody>
      </p:sp>
    </p:spTree>
    <p:extLst>
      <p:ext uri="{BB962C8B-B14F-4D97-AF65-F5344CB8AC3E}">
        <p14:creationId xmlns:p14="http://schemas.microsoft.com/office/powerpoint/2010/main" val="17683642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diagram&#10;&#10;Description automatically generated">
            <a:extLst>
              <a:ext uri="{FF2B5EF4-FFF2-40B4-BE49-F238E27FC236}">
                <a16:creationId xmlns:a16="http://schemas.microsoft.com/office/drawing/2014/main" id="{8F16E876-57B8-F0A8-A3D2-96F146B29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41"/>
          <a:stretch/>
        </p:blipFill>
        <p:spPr>
          <a:xfrm>
            <a:off x="-249142" y="0"/>
            <a:ext cx="12441142" cy="1612436"/>
          </a:xfrm>
          <a:prstGeom prst="rect">
            <a:avLst/>
          </a:prstGeom>
        </p:spPr>
      </p:pic>
      <p:sp>
        <p:nvSpPr>
          <p:cNvPr id="15" name="Title 1">
            <a:extLst>
              <a:ext uri="{FF2B5EF4-FFF2-40B4-BE49-F238E27FC236}">
                <a16:creationId xmlns:a16="http://schemas.microsoft.com/office/drawing/2014/main" id="{8D06D042-CDEA-4070-9306-6C7441C972A1}"/>
              </a:ext>
            </a:extLst>
          </p:cNvPr>
          <p:cNvSpPr txBox="1">
            <a:spLocks/>
          </p:cNvSpPr>
          <p:nvPr/>
        </p:nvSpPr>
        <p:spPr>
          <a:xfrm>
            <a:off x="-2652" y="-25924"/>
            <a:ext cx="12194652" cy="1618040"/>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DELI</a:t>
            </a:r>
            <a:r>
              <a:rPr lang="en-US" sz="3600" b="1">
                <a:solidFill>
                  <a:prstClr val="white"/>
                </a:solidFill>
                <a:latin typeface="Calibri" panose="020F0502020204030204" pitchFamily="34" charset="0"/>
                <a:cs typeface="Calibri" panose="020F0502020204030204" pitchFamily="34" charset="0"/>
              </a:rPr>
              <a:t>V</a:t>
            </a:r>
            <a:r>
              <a:rPr kumimoji="0" lang="en-US" sz="36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ERABLES</a:t>
            </a:r>
            <a:endParaRPr kumimoji="0" lang="en-GB" sz="36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graphicFrame>
        <p:nvGraphicFramePr>
          <p:cNvPr id="9" name="Table 8">
            <a:extLst>
              <a:ext uri="{FF2B5EF4-FFF2-40B4-BE49-F238E27FC236}">
                <a16:creationId xmlns:a16="http://schemas.microsoft.com/office/drawing/2014/main" id="{6369757B-B760-1A28-E2A1-C7888EB463AF}"/>
              </a:ext>
            </a:extLst>
          </p:cNvPr>
          <p:cNvGraphicFramePr>
            <a:graphicFrameLocks noGrp="1"/>
          </p:cNvGraphicFramePr>
          <p:nvPr>
            <p:extLst>
              <p:ext uri="{D42A27DB-BD31-4B8C-83A1-F6EECF244321}">
                <p14:modId xmlns:p14="http://schemas.microsoft.com/office/powerpoint/2010/main" val="674603765"/>
              </p:ext>
            </p:extLst>
          </p:nvPr>
        </p:nvGraphicFramePr>
        <p:xfrm>
          <a:off x="9294" y="1612436"/>
          <a:ext cx="12182706" cy="4720271"/>
        </p:xfrm>
        <a:graphic>
          <a:graphicData uri="http://schemas.openxmlformats.org/drawingml/2006/table">
            <a:tbl>
              <a:tblPr firstRow="1" bandRow="1"/>
              <a:tblGrid>
                <a:gridCol w="4251421">
                  <a:extLst>
                    <a:ext uri="{9D8B030D-6E8A-4147-A177-3AD203B41FA5}">
                      <a16:colId xmlns:a16="http://schemas.microsoft.com/office/drawing/2014/main" val="20000"/>
                    </a:ext>
                  </a:extLst>
                </a:gridCol>
                <a:gridCol w="7931285">
                  <a:extLst>
                    <a:ext uri="{9D8B030D-6E8A-4147-A177-3AD203B41FA5}">
                      <a16:colId xmlns:a16="http://schemas.microsoft.com/office/drawing/2014/main" val="1435369298"/>
                    </a:ext>
                  </a:extLst>
                </a:gridCol>
              </a:tblGrid>
              <a:tr h="34159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r>
                        <a:rPr lang="en-US" sz="1600">
                          <a:solidFill>
                            <a:srgbClr val="CCB76A"/>
                          </a:solidFill>
                        </a:rPr>
                        <a:t>Scope Items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r>
                        <a:rPr lang="en-US" sz="1600">
                          <a:solidFill>
                            <a:srgbClr val="CCB76A"/>
                          </a:solidFill>
                        </a:rPr>
                        <a:t>Deliverabl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4658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Identification of Personal Data and Data Flow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75000"/>
                        <a:lumOff val="25000"/>
                      </a:sys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a:solidFill>
                            <a:schemeClr val="tx1"/>
                          </a:solidFill>
                        </a:rPr>
                        <a:t>Request for Information Templ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a:solidFill>
                            <a:schemeClr val="tx1"/>
                          </a:solidFill>
                        </a:rPr>
                        <a:t>Data Inventory Template</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936098029"/>
                  </a:ext>
                </a:extLst>
              </a:tr>
              <a:tr h="279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Personal Data Protection Compliance Assessmen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75000"/>
                        <a:lumOff val="25000"/>
                      </a:sys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Personal Data Protection Compliance Assessment Report </a:t>
                      </a:r>
                      <a:endParaRPr lang="en-GB" sz="1200" b="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90911308"/>
                  </a:ext>
                </a:extLst>
              </a:tr>
              <a:tr h="2329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Personal Data Protection Policies and Procedur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75000"/>
                        <a:lumOff val="25000"/>
                      </a:sys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Compliance Monitoring Proced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dirty="0">
                          <a:solidFill>
                            <a:schemeClr val="tx1"/>
                          </a:solidFill>
                        </a:rPr>
                        <a:t>Consent Management Proced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dirty="0">
                          <a:solidFill>
                            <a:schemeClr val="tx1"/>
                          </a:solidFill>
                        </a:rPr>
                        <a:t>Cross-Border Data Transfer Proced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dirty="0">
                          <a:solidFill>
                            <a:schemeClr val="tx1"/>
                          </a:solidFill>
                        </a:rPr>
                        <a:t>Data Protection Governance Framewor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Data Protection Impact Assessment (DPIA) Methodolo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Data Protection Polic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Data Subject Rights Proced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Personal Data Breach Notification Proced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Personal Data Breach Notification Templ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Privacy Noti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Privacy Polic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Third-Party Data Sharing and Disclosure Procedure</a:t>
                      </a:r>
                      <a:endParaRPr lang="en-GB" sz="1200" b="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085115994"/>
                  </a:ext>
                </a:extLst>
              </a:tr>
              <a:tr h="279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Record of Processing Activiti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75000"/>
                        <a:lumOff val="25000"/>
                      </a:sys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tx1"/>
                          </a:solidFill>
                        </a:rPr>
                        <a:t>RoPA shee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096619070"/>
                  </a:ext>
                </a:extLst>
              </a:tr>
              <a:tr h="279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Data Protection Impact Assessmen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75000"/>
                        <a:lumOff val="25000"/>
                      </a:sys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tx1"/>
                          </a:solidFill>
                        </a:rPr>
                        <a:t>DPIA shee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899944061"/>
                  </a:ext>
                </a:extLst>
              </a:tr>
              <a:tr h="4658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Compliance Assessment and Compliance Road Map</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75000"/>
                        <a:lumOff val="25000"/>
                      </a:sys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tx1"/>
                          </a:solidFill>
                        </a:rPr>
                        <a:t>Compliance Assessment Re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tx1"/>
                          </a:solidFill>
                        </a:rPr>
                        <a:t>Compliance Roadmap</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39095358"/>
                  </a:ext>
                </a:extLst>
              </a:tr>
              <a:tr h="279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Training and Awarenes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75000"/>
                        <a:lumOff val="25000"/>
                      </a:sys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tx1"/>
                          </a:solidFill>
                        </a:rPr>
                        <a:t>Training and Awareness Sessio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79588730"/>
                  </a:ext>
                </a:extLst>
              </a:tr>
            </a:tbl>
          </a:graphicData>
        </a:graphic>
      </p:graphicFrame>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90996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normAutofit/>
          </a:bodyPr>
          <a:lstStyle/>
          <a:p>
            <a:r>
              <a:rPr lang="en-US">
                <a:latin typeface="+mj-lt"/>
              </a:rPr>
              <a:t>PROJECT TIMELINE</a:t>
            </a:r>
            <a:endParaRPr lang="en-GB">
              <a:latin typeface="+mj-lt"/>
            </a:endParaRPr>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22183266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302120" cy="816717"/>
        </p:xfrm>
        <a:graphic>
          <a:graphicData uri="http://schemas.openxmlformats.org/drawingml/2006/table">
            <a:tbl>
              <a:tblPr firstRow="1" bandRow="1">
                <a:tableStyleId>{073A0DAA-6AF3-43AB-8588-CEC1D06C72B9}</a:tableStyleId>
              </a:tblPr>
              <a:tblGrid>
                <a:gridCol w="376737">
                  <a:extLst>
                    <a:ext uri="{9D8B030D-6E8A-4147-A177-3AD203B41FA5}">
                      <a16:colId xmlns:a16="http://schemas.microsoft.com/office/drawing/2014/main" val="1290241882"/>
                    </a:ext>
                  </a:extLst>
                </a:gridCol>
                <a:gridCol w="376737">
                  <a:extLst>
                    <a:ext uri="{9D8B030D-6E8A-4147-A177-3AD203B41FA5}">
                      <a16:colId xmlns:a16="http://schemas.microsoft.com/office/drawing/2014/main" val="283493698"/>
                    </a:ext>
                  </a:extLst>
                </a:gridCol>
                <a:gridCol w="376739">
                  <a:extLst>
                    <a:ext uri="{9D8B030D-6E8A-4147-A177-3AD203B41FA5}">
                      <a16:colId xmlns:a16="http://schemas.microsoft.com/office/drawing/2014/main" val="1668329213"/>
                    </a:ext>
                  </a:extLst>
                </a:gridCol>
                <a:gridCol w="376737">
                  <a:extLst>
                    <a:ext uri="{9D8B030D-6E8A-4147-A177-3AD203B41FA5}">
                      <a16:colId xmlns:a16="http://schemas.microsoft.com/office/drawing/2014/main" val="2224798649"/>
                    </a:ext>
                  </a:extLst>
                </a:gridCol>
                <a:gridCol w="376737">
                  <a:extLst>
                    <a:ext uri="{9D8B030D-6E8A-4147-A177-3AD203B41FA5}">
                      <a16:colId xmlns:a16="http://schemas.microsoft.com/office/drawing/2014/main" val="1802148920"/>
                    </a:ext>
                  </a:extLst>
                </a:gridCol>
                <a:gridCol w="376737">
                  <a:extLst>
                    <a:ext uri="{9D8B030D-6E8A-4147-A177-3AD203B41FA5}">
                      <a16:colId xmlns:a16="http://schemas.microsoft.com/office/drawing/2014/main" val="2364839195"/>
                    </a:ext>
                  </a:extLst>
                </a:gridCol>
                <a:gridCol w="376737">
                  <a:extLst>
                    <a:ext uri="{9D8B030D-6E8A-4147-A177-3AD203B41FA5}">
                      <a16:colId xmlns:a16="http://schemas.microsoft.com/office/drawing/2014/main" val="489962519"/>
                    </a:ext>
                  </a:extLst>
                </a:gridCol>
                <a:gridCol w="376739">
                  <a:extLst>
                    <a:ext uri="{9D8B030D-6E8A-4147-A177-3AD203B41FA5}">
                      <a16:colId xmlns:a16="http://schemas.microsoft.com/office/drawing/2014/main" val="952683092"/>
                    </a:ext>
                  </a:extLst>
                </a:gridCol>
                <a:gridCol w="376737">
                  <a:extLst>
                    <a:ext uri="{9D8B030D-6E8A-4147-A177-3AD203B41FA5}">
                      <a16:colId xmlns:a16="http://schemas.microsoft.com/office/drawing/2014/main" val="1423511475"/>
                    </a:ext>
                  </a:extLst>
                </a:gridCol>
                <a:gridCol w="376737">
                  <a:extLst>
                    <a:ext uri="{9D8B030D-6E8A-4147-A177-3AD203B41FA5}">
                      <a16:colId xmlns:a16="http://schemas.microsoft.com/office/drawing/2014/main" val="2008152649"/>
                    </a:ext>
                  </a:extLst>
                </a:gridCol>
                <a:gridCol w="376737">
                  <a:extLst>
                    <a:ext uri="{9D8B030D-6E8A-4147-A177-3AD203B41FA5}">
                      <a16:colId xmlns:a16="http://schemas.microsoft.com/office/drawing/2014/main" val="4261444740"/>
                    </a:ext>
                  </a:extLst>
                </a:gridCol>
                <a:gridCol w="376737">
                  <a:extLst>
                    <a:ext uri="{9D8B030D-6E8A-4147-A177-3AD203B41FA5}">
                      <a16:colId xmlns:a16="http://schemas.microsoft.com/office/drawing/2014/main" val="172221575"/>
                    </a:ext>
                  </a:extLst>
                </a:gridCol>
                <a:gridCol w="376739">
                  <a:extLst>
                    <a:ext uri="{9D8B030D-6E8A-4147-A177-3AD203B41FA5}">
                      <a16:colId xmlns:a16="http://schemas.microsoft.com/office/drawing/2014/main" val="1619546975"/>
                    </a:ext>
                  </a:extLst>
                </a:gridCol>
                <a:gridCol w="376737">
                  <a:extLst>
                    <a:ext uri="{9D8B030D-6E8A-4147-A177-3AD203B41FA5}">
                      <a16:colId xmlns:a16="http://schemas.microsoft.com/office/drawing/2014/main" val="2906561931"/>
                    </a:ext>
                  </a:extLst>
                </a:gridCol>
                <a:gridCol w="376737">
                  <a:extLst>
                    <a:ext uri="{9D8B030D-6E8A-4147-A177-3AD203B41FA5}">
                      <a16:colId xmlns:a16="http://schemas.microsoft.com/office/drawing/2014/main" val="654522535"/>
                    </a:ext>
                  </a:extLst>
                </a:gridCol>
                <a:gridCol w="376737">
                  <a:extLst>
                    <a:ext uri="{9D8B030D-6E8A-4147-A177-3AD203B41FA5}">
                      <a16:colId xmlns:a16="http://schemas.microsoft.com/office/drawing/2014/main" val="4228781055"/>
                    </a:ext>
                  </a:extLst>
                </a:gridCol>
                <a:gridCol w="376737">
                  <a:extLst>
                    <a:ext uri="{9D8B030D-6E8A-4147-A177-3AD203B41FA5}">
                      <a16:colId xmlns:a16="http://schemas.microsoft.com/office/drawing/2014/main" val="2473175279"/>
                    </a:ext>
                  </a:extLst>
                </a:gridCol>
                <a:gridCol w="376739">
                  <a:extLst>
                    <a:ext uri="{9D8B030D-6E8A-4147-A177-3AD203B41FA5}">
                      <a16:colId xmlns:a16="http://schemas.microsoft.com/office/drawing/2014/main" val="985277982"/>
                    </a:ext>
                  </a:extLst>
                </a:gridCol>
                <a:gridCol w="376737">
                  <a:extLst>
                    <a:ext uri="{9D8B030D-6E8A-4147-A177-3AD203B41FA5}">
                      <a16:colId xmlns:a16="http://schemas.microsoft.com/office/drawing/2014/main" val="1652519001"/>
                    </a:ext>
                  </a:extLst>
                </a:gridCol>
                <a:gridCol w="376737">
                  <a:extLst>
                    <a:ext uri="{9D8B030D-6E8A-4147-A177-3AD203B41FA5}">
                      <a16:colId xmlns:a16="http://schemas.microsoft.com/office/drawing/2014/main" val="1852940871"/>
                    </a:ext>
                  </a:extLst>
                </a:gridCol>
                <a:gridCol w="376737">
                  <a:extLst>
                    <a:ext uri="{9D8B030D-6E8A-4147-A177-3AD203B41FA5}">
                      <a16:colId xmlns:a16="http://schemas.microsoft.com/office/drawing/2014/main" val="592676385"/>
                    </a:ext>
                  </a:extLst>
                </a:gridCol>
                <a:gridCol w="376737">
                  <a:extLst>
                    <a:ext uri="{9D8B030D-6E8A-4147-A177-3AD203B41FA5}">
                      <a16:colId xmlns:a16="http://schemas.microsoft.com/office/drawing/2014/main" val="1731583999"/>
                    </a:ext>
                  </a:extLst>
                </a:gridCol>
                <a:gridCol w="376739">
                  <a:extLst>
                    <a:ext uri="{9D8B030D-6E8A-4147-A177-3AD203B41FA5}">
                      <a16:colId xmlns:a16="http://schemas.microsoft.com/office/drawing/2014/main" val="1958632263"/>
                    </a:ext>
                  </a:extLst>
                </a:gridCol>
                <a:gridCol w="376737">
                  <a:extLst>
                    <a:ext uri="{9D8B030D-6E8A-4147-A177-3AD203B41FA5}">
                      <a16:colId xmlns:a16="http://schemas.microsoft.com/office/drawing/2014/main" val="930379874"/>
                    </a:ext>
                  </a:extLst>
                </a:gridCol>
                <a:gridCol w="376737">
                  <a:extLst>
                    <a:ext uri="{9D8B030D-6E8A-4147-A177-3AD203B41FA5}">
                      <a16:colId xmlns:a16="http://schemas.microsoft.com/office/drawing/2014/main" val="3846433749"/>
                    </a:ext>
                  </a:extLst>
                </a:gridCol>
                <a:gridCol w="376737">
                  <a:extLst>
                    <a:ext uri="{9D8B030D-6E8A-4147-A177-3AD203B41FA5}">
                      <a16:colId xmlns:a16="http://schemas.microsoft.com/office/drawing/2014/main" val="2810539656"/>
                    </a:ext>
                  </a:extLst>
                </a:gridCol>
                <a:gridCol w="376737">
                  <a:extLst>
                    <a:ext uri="{9D8B030D-6E8A-4147-A177-3AD203B41FA5}">
                      <a16:colId xmlns:a16="http://schemas.microsoft.com/office/drawing/2014/main" val="486356529"/>
                    </a:ext>
                  </a:extLst>
                </a:gridCol>
                <a:gridCol w="376737">
                  <a:extLst>
                    <a:ext uri="{9D8B030D-6E8A-4147-A177-3AD203B41FA5}">
                      <a16:colId xmlns:a16="http://schemas.microsoft.com/office/drawing/2014/main" val="3719800581"/>
                    </a:ext>
                  </a:extLst>
                </a:gridCol>
                <a:gridCol w="376737">
                  <a:extLst>
                    <a:ext uri="{9D8B030D-6E8A-4147-A177-3AD203B41FA5}">
                      <a16:colId xmlns:a16="http://schemas.microsoft.com/office/drawing/2014/main" val="4142958828"/>
                    </a:ext>
                  </a:extLst>
                </a:gridCol>
                <a:gridCol w="376737">
                  <a:extLst>
                    <a:ext uri="{9D8B030D-6E8A-4147-A177-3AD203B41FA5}">
                      <a16:colId xmlns:a16="http://schemas.microsoft.com/office/drawing/2014/main" val="2182439515"/>
                    </a:ext>
                  </a:extLst>
                </a:gridCol>
              </a:tblGrid>
              <a:tr h="350022">
                <a:tc gridSpan="30">
                  <a:txBody>
                    <a:bodyPr/>
                    <a:lstStyle/>
                    <a:p>
                      <a:pPr algn="ctr"/>
                      <a:r>
                        <a:rPr lang="en-US" sz="1600">
                          <a:solidFill>
                            <a:schemeClr val="bg1"/>
                          </a:solidFill>
                          <a:latin typeface="Calibri"/>
                          <a:cs typeface="Calibri"/>
                        </a:rPr>
                        <a:t>Weekly Breakdown of High-Level Project Phases</a:t>
                      </a:r>
                      <a:endParaRPr lang="en-GB" sz="1600">
                        <a:solidFill>
                          <a:schemeClr val="bg1"/>
                        </a:solidFill>
                        <a:latin typeface="Calibri"/>
                        <a:cs typeface="Calibr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6686">
                <a:tc gridSpan="5">
                  <a:txBody>
                    <a:bodyPr/>
                    <a:lstStyle/>
                    <a:p>
                      <a:pPr algn="ctr"/>
                      <a:r>
                        <a:rPr lang="en-US" sz="1400">
                          <a:latin typeface="Calibri"/>
                          <a:cs typeface="Calibri"/>
                        </a:rPr>
                        <a:t>W1</a:t>
                      </a:r>
                      <a:endParaRPr lang="en-GB" sz="1400">
                        <a:latin typeface="Calibri"/>
                        <a:cs typeface="Calibr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a:cs typeface="Calibri"/>
                        </a:rPr>
                        <a:t>W2</a:t>
                      </a:r>
                      <a:endParaRPr lang="en-GB" sz="1400">
                        <a:latin typeface="Calibri"/>
                        <a:cs typeface="Calibr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a:cs typeface="Calibri"/>
                        </a:rPr>
                        <a:t>W3</a:t>
                      </a:r>
                      <a:endParaRPr lang="en-GB" sz="1400">
                        <a:latin typeface="Calibri"/>
                        <a:cs typeface="Calibr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a:cs typeface="Calibri"/>
                        </a:rPr>
                        <a:t>W4</a:t>
                      </a:r>
                      <a:endParaRPr lang="en-GB" sz="1400">
                        <a:latin typeface="Calibri"/>
                        <a:cs typeface="Calibr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a:cs typeface="Calibri"/>
                        </a:rPr>
                        <a:t>W5</a:t>
                      </a:r>
                      <a:endParaRPr lang="en-GB" sz="1400">
                        <a:latin typeface="Calibri"/>
                        <a:cs typeface="Calibr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a:cs typeface="Calibri"/>
                        </a:rPr>
                        <a:t>W6</a:t>
                      </a:r>
                      <a:endParaRPr lang="en-GB" sz="1400">
                        <a:latin typeface="Calibri"/>
                        <a:cs typeface="Calibr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extLst>
                  <a:ext uri="{0D108BD9-81ED-4DB2-BD59-A6C34878D82A}">
                    <a16:rowId xmlns:a16="http://schemas.microsoft.com/office/drawing/2014/main" val="1738881864"/>
                  </a:ext>
                </a:extLst>
              </a:tr>
              <a:tr h="150009">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a:lnSpc>
                <a:spcPct val="115000"/>
              </a:lnSpc>
              <a:defRPr/>
            </a:pPr>
            <a:r>
              <a:rPr kumimoji="0" lang="en-US" sz="1800" b="1" i="0" u="none" strike="noStrike" kern="1200" cap="none" spc="0" normalizeH="0" baseline="0" noProof="0">
                <a:ln>
                  <a:noFill/>
                </a:ln>
                <a:solidFill>
                  <a:prstClr val="black"/>
                </a:solidFill>
                <a:effectLst/>
                <a:uLnTx/>
                <a:uFillTx/>
                <a:latin typeface="Calibri"/>
                <a:ea typeface="Calibri"/>
                <a:cs typeface="Calibri"/>
              </a:rPr>
              <a:t>Estimated duration: </a:t>
            </a:r>
            <a:r>
              <a:rPr lang="en-US" b="1">
                <a:solidFill>
                  <a:prstClr val="black"/>
                </a:solidFill>
                <a:latin typeface="Calibri"/>
                <a:ea typeface="Calibri"/>
                <a:cs typeface="Calibri"/>
              </a:rPr>
              <a:t>6 Calendar</a:t>
            </a:r>
            <a:r>
              <a:rPr kumimoji="0" lang="en-US" sz="1800" b="1" i="0" u="none" strike="noStrike" kern="1200" cap="none" spc="0" normalizeH="0" baseline="0" noProof="0">
                <a:ln>
                  <a:noFill/>
                </a:ln>
                <a:solidFill>
                  <a:prstClr val="black"/>
                </a:solidFill>
                <a:effectLst/>
                <a:uLnTx/>
                <a:uFillTx/>
                <a:latin typeface="Calibri"/>
                <a:ea typeface="Calibri"/>
                <a:cs typeface="Calibri"/>
              </a:rPr>
              <a:t> Weeks </a:t>
            </a:r>
            <a:r>
              <a:rPr kumimoji="0" lang="en-US" sz="1200" b="0" i="0" u="none" strike="noStrike" kern="1200" cap="none" spc="0" normalizeH="0" baseline="0" noProof="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a:ea typeface="Calibri"/>
              <a:cs typeface="Calibri"/>
            </a:endParaRPr>
          </a:p>
        </p:txBody>
      </p:sp>
      <p:sp>
        <p:nvSpPr>
          <p:cNvPr id="93" name="TextBox 92">
            <a:extLst>
              <a:ext uri="{FF2B5EF4-FFF2-40B4-BE49-F238E27FC236}">
                <a16:creationId xmlns:a16="http://schemas.microsoft.com/office/drawing/2014/main" id="{9E1FC338-35F2-FEE2-58AC-B87A96C10F0A}"/>
              </a:ext>
            </a:extLst>
          </p:cNvPr>
          <p:cNvSpPr txBox="1"/>
          <p:nvPr/>
        </p:nvSpPr>
        <p:spPr>
          <a:xfrm>
            <a:off x="433090" y="5942490"/>
            <a:ext cx="1648861" cy="27699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Consultancy </a:t>
            </a:r>
            <a:r>
              <a:rPr lang="en-US" sz="1200">
                <a:solidFill>
                  <a:srgbClr val="000000"/>
                </a:solidFill>
                <a:latin typeface="Calibri"/>
              </a:rPr>
              <a:t>Team</a:t>
            </a: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94" name="Progress">
            <a:extLst>
              <a:ext uri="{FF2B5EF4-FFF2-40B4-BE49-F238E27FC236}">
                <a16:creationId xmlns:a16="http://schemas.microsoft.com/office/drawing/2014/main" id="{EC5E7D86-2EE9-1F8D-173B-0DF56F60C79B}"/>
              </a:ext>
            </a:extLst>
          </p:cNvPr>
          <p:cNvSpPr/>
          <p:nvPr/>
        </p:nvSpPr>
        <p:spPr>
          <a:xfrm>
            <a:off x="250210" y="6035269"/>
            <a:ext cx="182880" cy="91440"/>
          </a:xfrm>
          <a:prstGeom prst="roundRect">
            <a:avLst>
              <a:gd name="adj" fmla="val 0"/>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Progress">
            <a:extLst>
              <a:ext uri="{FF2B5EF4-FFF2-40B4-BE49-F238E27FC236}">
                <a16:creationId xmlns:a16="http://schemas.microsoft.com/office/drawing/2014/main" id="{8CF5E9C4-5883-9068-F772-3FBF5A0E4059}"/>
              </a:ext>
            </a:extLst>
          </p:cNvPr>
          <p:cNvSpPr/>
          <p:nvPr/>
        </p:nvSpPr>
        <p:spPr>
          <a:xfrm>
            <a:off x="440033" y="2891957"/>
            <a:ext cx="1908057" cy="592514"/>
          </a:xfrm>
          <a:prstGeom prst="roundRect">
            <a:avLst>
              <a:gd name="adj" fmla="val 0"/>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44500">
              <a:lnSpc>
                <a:spcPct val="90000"/>
              </a:lnSpc>
              <a:spcBef>
                <a:spcPct val="0"/>
              </a:spcBef>
              <a:spcAft>
                <a:spcPct val="35000"/>
              </a:spcAft>
              <a:defRPr/>
            </a:pPr>
            <a:r>
              <a:rPr lang="en-US" sz="1600" b="1">
                <a:latin typeface="Calibri"/>
              </a:rPr>
              <a:t>Personal</a:t>
            </a:r>
            <a:r>
              <a:rPr lang="en-US" sz="1600" b="1" baseline="0">
                <a:latin typeface="Calibri"/>
              </a:rPr>
              <a:t> </a:t>
            </a:r>
            <a:r>
              <a:rPr lang="en-US" sz="1600" b="1">
                <a:latin typeface="Calibri"/>
              </a:rPr>
              <a:t>Data/ Data</a:t>
            </a:r>
            <a:r>
              <a:rPr lang="en-US" sz="1600" b="1" baseline="0">
                <a:latin typeface="Calibri"/>
              </a:rPr>
              <a:t> </a:t>
            </a:r>
            <a:r>
              <a:rPr lang="en-US" sz="1600" b="1">
                <a:latin typeface="Calibri"/>
              </a:rPr>
              <a:t>      Flows Identification</a:t>
            </a:r>
            <a:endParaRPr kumimoji="0" lang="en-GB" sz="1600" b="1" i="0" u="none" strike="noStrike" kern="1200" cap="none" spc="0" normalizeH="0" baseline="0" noProof="0" err="1">
              <a:ln>
                <a:noFill/>
              </a:ln>
              <a:effectLst/>
              <a:uLnTx/>
              <a:uFillTx/>
              <a:latin typeface="Calibri"/>
              <a:ea typeface="+mn-ea"/>
              <a:cs typeface="+mn-cs"/>
            </a:endParaRPr>
          </a:p>
        </p:txBody>
      </p:sp>
      <p:sp>
        <p:nvSpPr>
          <p:cNvPr id="4" name="Progress">
            <a:extLst>
              <a:ext uri="{FF2B5EF4-FFF2-40B4-BE49-F238E27FC236}">
                <a16:creationId xmlns:a16="http://schemas.microsoft.com/office/drawing/2014/main" id="{E06E3A62-AB64-6A80-4C35-C77FE12A52B7}"/>
              </a:ext>
            </a:extLst>
          </p:cNvPr>
          <p:cNvSpPr/>
          <p:nvPr/>
        </p:nvSpPr>
        <p:spPr>
          <a:xfrm>
            <a:off x="1581747" y="3521198"/>
            <a:ext cx="3377029" cy="592514"/>
          </a:xfrm>
          <a:prstGeom prst="roundRect">
            <a:avLst>
              <a:gd name="adj" fmla="val 0"/>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lang="en-US" sz="1600" b="1" baseline="0">
                <a:latin typeface="Calibri"/>
              </a:rPr>
              <a:t>Personal Data Protection Initial Assessmen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6" name="Progress">
            <a:extLst>
              <a:ext uri="{FF2B5EF4-FFF2-40B4-BE49-F238E27FC236}">
                <a16:creationId xmlns:a16="http://schemas.microsoft.com/office/drawing/2014/main" id="{691C12A7-FDA1-AC12-78D0-2E1ABE617AA6}"/>
              </a:ext>
            </a:extLst>
          </p:cNvPr>
          <p:cNvSpPr/>
          <p:nvPr/>
        </p:nvSpPr>
        <p:spPr>
          <a:xfrm>
            <a:off x="2680865" y="4146708"/>
            <a:ext cx="5284778" cy="592514"/>
          </a:xfrm>
          <a:prstGeom prst="roundRect">
            <a:avLst>
              <a:gd name="adj" fmla="val 0"/>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lang="en-US" b="1" baseline="0">
                <a:latin typeface="Calibri"/>
              </a:rPr>
              <a:t>Documentation Development</a:t>
            </a:r>
            <a:endParaRPr kumimoji="0" lang="en-GB" b="1" i="0" u="none" strike="noStrike" kern="1200" cap="none" spc="0" normalizeH="0" baseline="0" noProof="0">
              <a:ln>
                <a:noFill/>
              </a:ln>
              <a:solidFill>
                <a:prstClr val="white"/>
              </a:solidFill>
              <a:effectLst/>
              <a:uLnTx/>
              <a:uFillTx/>
              <a:latin typeface="Calibri"/>
              <a:ea typeface="+mn-ea"/>
              <a:cs typeface="+mn-cs"/>
            </a:endParaRPr>
          </a:p>
        </p:txBody>
      </p:sp>
      <p:sp>
        <p:nvSpPr>
          <p:cNvPr id="8" name="Progress">
            <a:extLst>
              <a:ext uri="{FF2B5EF4-FFF2-40B4-BE49-F238E27FC236}">
                <a16:creationId xmlns:a16="http://schemas.microsoft.com/office/drawing/2014/main" id="{BA176C1E-F167-73E0-8FAA-70D994FE4996}"/>
              </a:ext>
            </a:extLst>
          </p:cNvPr>
          <p:cNvSpPr/>
          <p:nvPr/>
        </p:nvSpPr>
        <p:spPr>
          <a:xfrm>
            <a:off x="4399224" y="4775312"/>
            <a:ext cx="3557603" cy="592514"/>
          </a:xfrm>
          <a:prstGeom prst="roundRect">
            <a:avLst>
              <a:gd name="adj" fmla="val 0"/>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lang="en-US" b="1" baseline="0">
                <a:latin typeface="Calibri"/>
              </a:rPr>
              <a:t>Record of Processing </a:t>
            </a:r>
            <a:r>
              <a:rPr lang="en-US" b="1">
                <a:latin typeface="Calibri"/>
              </a:rPr>
              <a:t>Activities</a:t>
            </a:r>
            <a:endParaRPr kumimoji="0" lang="en-GB" sz="1050" b="1" i="0" u="none" strike="noStrike" kern="1200" cap="none" spc="0" normalizeH="0" baseline="0" noProof="0">
              <a:ln>
                <a:noFill/>
              </a:ln>
              <a:effectLst/>
              <a:uLnTx/>
              <a:uFillTx/>
              <a:latin typeface="Calibri"/>
              <a:ea typeface="+mn-ea"/>
              <a:cs typeface="+mn-cs"/>
            </a:endParaRPr>
          </a:p>
        </p:txBody>
      </p:sp>
      <p:sp>
        <p:nvSpPr>
          <p:cNvPr id="18" name="Progress">
            <a:extLst>
              <a:ext uri="{FF2B5EF4-FFF2-40B4-BE49-F238E27FC236}">
                <a16:creationId xmlns:a16="http://schemas.microsoft.com/office/drawing/2014/main" id="{370DEDE7-2588-E3C8-7A9D-10CDB1A3678E}"/>
              </a:ext>
            </a:extLst>
          </p:cNvPr>
          <p:cNvSpPr/>
          <p:nvPr/>
        </p:nvSpPr>
        <p:spPr>
          <a:xfrm>
            <a:off x="7973394" y="4766121"/>
            <a:ext cx="1885607" cy="1301253"/>
          </a:xfrm>
          <a:prstGeom prst="roundRect">
            <a:avLst>
              <a:gd name="adj" fmla="val 0"/>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lang="en-US" sz="1600" b="1" baseline="0">
                <a:latin typeface="Calibri"/>
              </a:rPr>
              <a:t>Data Protection Impact Assessment</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noProof="0">
                <a:ln>
                  <a:noFill/>
                </a:ln>
                <a:solidFill>
                  <a:prstClr val="white"/>
                </a:solidFill>
                <a:effectLst/>
                <a:uLnTx/>
                <a:uFillTx/>
                <a:latin typeface="Calibri"/>
                <a:ea typeface="+mn-ea"/>
                <a:cs typeface="+mn-cs"/>
              </a:rPr>
              <a:t>Compliance Assessment Report and Roadmap</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24" name="Progress">
            <a:extLst>
              <a:ext uri="{FF2B5EF4-FFF2-40B4-BE49-F238E27FC236}">
                <a16:creationId xmlns:a16="http://schemas.microsoft.com/office/drawing/2014/main" id="{BC702116-88D8-934B-1E1B-54193100830A}"/>
              </a:ext>
            </a:extLst>
          </p:cNvPr>
          <p:cNvSpPr/>
          <p:nvPr/>
        </p:nvSpPr>
        <p:spPr>
          <a:xfrm>
            <a:off x="9802790" y="5442755"/>
            <a:ext cx="1905999" cy="592514"/>
          </a:xfrm>
          <a:prstGeom prst="roundRect">
            <a:avLst>
              <a:gd name="adj" fmla="val 0"/>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lang="en-US" sz="1600" b="1" baseline="0">
                <a:latin typeface="Calibri"/>
              </a:rPr>
              <a:t>Training &amp; Awareness</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54" name="Straight Connector 53">
            <a:extLst>
              <a:ext uri="{FF2B5EF4-FFF2-40B4-BE49-F238E27FC236}">
                <a16:creationId xmlns:a16="http://schemas.microsoft.com/office/drawing/2014/main" id="{2EAFBC4D-7224-2051-48CA-C0696954DAD5}"/>
              </a:ext>
            </a:extLst>
          </p:cNvPr>
          <p:cNvCxnSpPr>
            <a:cxnSpLocks/>
          </p:cNvCxnSpPr>
          <p:nvPr/>
        </p:nvCxnSpPr>
        <p:spPr>
          <a:xfrm flipH="1">
            <a:off x="7958391" y="2825532"/>
            <a:ext cx="6719" cy="3273714"/>
          </a:xfrm>
          <a:prstGeom prst="line">
            <a:avLst/>
          </a:prstGeom>
          <a:ln w="19050">
            <a:prstDash val="solid"/>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23E829B6-C7BC-F157-32F9-14B5DE85DEEC}"/>
              </a:ext>
            </a:extLst>
          </p:cNvPr>
          <p:cNvCxnSpPr>
            <a:cxnSpLocks/>
          </p:cNvCxnSpPr>
          <p:nvPr/>
        </p:nvCxnSpPr>
        <p:spPr>
          <a:xfrm flipH="1">
            <a:off x="9845339" y="2836484"/>
            <a:ext cx="6719" cy="3273714"/>
          </a:xfrm>
          <a:prstGeom prst="line">
            <a:avLst/>
          </a:prstGeom>
          <a:ln w="19050">
            <a:prstDash val="solid"/>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E726A30B-2094-1F4F-E732-6AB388314ADE}"/>
              </a:ext>
            </a:extLst>
          </p:cNvPr>
          <p:cNvCxnSpPr>
            <a:cxnSpLocks/>
          </p:cNvCxnSpPr>
          <p:nvPr/>
        </p:nvCxnSpPr>
        <p:spPr>
          <a:xfrm>
            <a:off x="2343357" y="2873882"/>
            <a:ext cx="6597" cy="696611"/>
          </a:xfrm>
          <a:prstGeom prst="line">
            <a:avLst/>
          </a:prstGeom>
          <a:ln w="9525">
            <a:prstDash val="solid"/>
          </a:ln>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E4781023-5267-31C0-4C22-F7EDF6A5EF8E}"/>
              </a:ext>
            </a:extLst>
          </p:cNvPr>
          <p:cNvCxnSpPr>
            <a:cxnSpLocks/>
          </p:cNvCxnSpPr>
          <p:nvPr/>
        </p:nvCxnSpPr>
        <p:spPr>
          <a:xfrm>
            <a:off x="11697988" y="2852995"/>
            <a:ext cx="8872" cy="3366494"/>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CEFACB6-F5B8-5455-7F8A-255EF5D17B26}"/>
              </a:ext>
            </a:extLst>
          </p:cNvPr>
          <p:cNvCxnSpPr>
            <a:cxnSpLocks/>
          </p:cNvCxnSpPr>
          <p:nvPr/>
        </p:nvCxnSpPr>
        <p:spPr>
          <a:xfrm>
            <a:off x="439640" y="2836484"/>
            <a:ext cx="33305" cy="2859631"/>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6876120-21FD-D948-5DAE-7AC643618DB5}"/>
              </a:ext>
            </a:extLst>
          </p:cNvPr>
          <p:cNvCxnSpPr>
            <a:cxnSpLocks/>
          </p:cNvCxnSpPr>
          <p:nvPr/>
        </p:nvCxnSpPr>
        <p:spPr>
          <a:xfrm flipH="1">
            <a:off x="4940700" y="2877289"/>
            <a:ext cx="8168" cy="1218661"/>
          </a:xfrm>
          <a:prstGeom prst="line">
            <a:avLst/>
          </a:prstGeom>
          <a:ln w="19050">
            <a:prstDash val="soli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81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US" b="1"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lang="en-US" i="0" kern="1200" spc="0" baseline="0" dirty="0">
                <a:ln>
                  <a:noFill/>
                </a:ln>
                <a:solidFill>
                  <a:srgbClr val="000000"/>
                </a:solidFill>
                <a:effectLst/>
                <a:latin typeface="Calibri" panose="020F0502020204030204" pitchFamily="34" charset="0"/>
                <a:ea typeface="+mn-ea"/>
                <a:cs typeface="Sakkal Majalla" panose="02000000000000000000" pitchFamily="2" charset="-78"/>
              </a:rPr>
              <a:t>’s</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a:lstStyle/>
          <a:p>
            <a:pPr algn="ctr"/>
            <a:r>
              <a:rPr lang="en-US" sz="2000" b="1"/>
              <a:t>Our Mission</a:t>
            </a:r>
          </a:p>
          <a:p>
            <a:pPr algn="just"/>
            <a:r>
              <a:rPr lang="en-US"/>
              <a:t>We aim to achieve the highest quality in delivering our consultancy services in order to strengthen our clients’ governance, risk posture and information security resilience.</a:t>
            </a: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extLst>
    <p:ext uri="{6950BFC3-D8DA-4A85-94F7-54DA5524770B}">
      <p188:commentRel xmlns:p188="http://schemas.microsoft.com/office/powerpoint/2018/8/main" r:id="rId2"/>
    </p:ext>
  </p:extLst>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masterClrMapping/>
  </p:clrMapOvr>
  <p:extLst>
    <p:ext uri="{6950BFC3-D8DA-4A85-94F7-54DA5524770B}">
      <p188:commentRel xmlns:p188="http://schemas.microsoft.com/office/powerpoint/2018/8/main" r:id="rId2"/>
    </p:ext>
  </p:extLs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Payment Term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Price above does not include KSA VA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40% on signing on and Awarding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30% after 1 month of PO</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30% with project sign of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3" name="Table 2">
            <a:extLst>
              <a:ext uri="{FF2B5EF4-FFF2-40B4-BE49-F238E27FC236}">
                <a16:creationId xmlns:a16="http://schemas.microsoft.com/office/drawing/2014/main" id="{0FF7EBA1-5A65-857D-E400-2589CA2A4057}"/>
              </a:ext>
            </a:extLst>
          </p:cNvPr>
          <p:cNvGraphicFramePr>
            <a:graphicFrameLocks noGrp="1"/>
          </p:cNvGraphicFramePr>
          <p:nvPr>
            <p:extLst>
              <p:ext uri="{D42A27DB-BD31-4B8C-83A1-F6EECF244321}">
                <p14:modId xmlns:p14="http://schemas.microsoft.com/office/powerpoint/2010/main" val="3553753990"/>
              </p:ext>
            </p:extLst>
          </p:nvPr>
        </p:nvGraphicFramePr>
        <p:xfrm>
          <a:off x="3875701" y="637335"/>
          <a:ext cx="7546475" cy="3655706"/>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t>{{deliverable1}}</a:t>
                      </a:r>
                    </a:p>
                  </a:txBody>
                  <a:tcPr marL="85725" marR="85725" marT="42863" marB="42863" anchor="ctr">
                    <a:solidFill>
                      <a:srgbClr val="CCB76A"/>
                    </a:solidFill>
                  </a:tcPr>
                </a:tc>
                <a:tc>
                  <a:txBody>
                    <a:bodyPr/>
                    <a:lstStyle/>
                    <a:p>
                      <a:pPr marL="0" algn="l" defTabSz="914400" rtl="0" eaLnBrk="1" latinLnBrk="0" hangingPunct="1"/>
                      <a:r>
                        <a:rPr lang="en-US" sz="1600" kern="1200" dirty="0">
                          <a:solidFill>
                            <a:schemeClr val="dk1"/>
                          </a:solidFill>
                          <a:latin typeface="+mn-lt"/>
                          <a:ea typeface="+mn-ea"/>
                          <a:cs typeface="+mn-cs"/>
                        </a:rPr>
                        <a:t>{{amount1}}</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2}}</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3}}</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4}}</a:t>
                      </a:r>
                    </a:p>
                  </a:txBody>
                  <a:tcPr marL="85725" marR="85725" marT="42863" marB="42863" anchor="ctr">
                    <a:solidFill>
                      <a:srgbClr val="CCB76A"/>
                    </a:solidFill>
                  </a:tcPr>
                </a:tc>
                <a:extLst>
                  <a:ext uri="{0D108BD9-81ED-4DB2-BD59-A6C34878D82A}">
                    <a16:rowId xmlns:a16="http://schemas.microsoft.com/office/drawing/2014/main" val="2808748768"/>
                  </a:ext>
                </a:extLst>
              </a:tr>
              <a:tr h="290277">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5}}</a:t>
                      </a:r>
                    </a:p>
                  </a:txBody>
                  <a:tcPr marL="85725" marR="85725" marT="42863" marB="42863" anchor="ctr">
                    <a:solidFill>
                      <a:srgbClr val="CCB76A"/>
                    </a:solidFill>
                  </a:tcPr>
                </a:tc>
                <a:extLst>
                  <a:ext uri="{0D108BD9-81ED-4DB2-BD59-A6C34878D82A}">
                    <a16:rowId xmlns:a16="http://schemas.microsoft.com/office/drawing/2014/main" val="3931304923"/>
                  </a:ext>
                </a:extLst>
              </a:tr>
              <a:tr h="290277">
                <a:tc>
                  <a:txBody>
                    <a:bodyPr/>
                    <a:lstStyle/>
                    <a:p>
                      <a:pPr marL="0" algn="ctr" defTabSz="914400" rtl="0" eaLnBrk="1" latinLnBrk="0" hangingPunct="1"/>
                      <a:r>
                        <a:rPr lang="en-US" sz="1600" b="1" kern="1200" dirty="0">
                          <a:solidFill>
                            <a:schemeClr val="dk1"/>
                          </a:solidFill>
                          <a:latin typeface="+mn-lt"/>
                          <a:ea typeface="+mn-ea"/>
                          <a:cs typeface="+mn-cs"/>
                        </a:rPr>
                        <a:t>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6}}</a:t>
                      </a:r>
                    </a:p>
                  </a:txBody>
                  <a:tcPr marL="85725" marR="85725" marT="42863" marB="42863" anchor="ctr">
                    <a:solidFill>
                      <a:srgbClr val="CCB76A"/>
                    </a:solidFill>
                  </a:tcPr>
                </a:tc>
                <a:extLst>
                  <a:ext uri="{0D108BD9-81ED-4DB2-BD59-A6C34878D82A}">
                    <a16:rowId xmlns:a16="http://schemas.microsoft.com/office/drawing/2014/main" val="1135014381"/>
                  </a:ext>
                </a:extLst>
              </a:tr>
              <a:tr h="290277">
                <a:tc>
                  <a:txBody>
                    <a:bodyPr/>
                    <a:lstStyle/>
                    <a:p>
                      <a:pPr marL="0" algn="ctr" defTabSz="914400" rtl="0" eaLnBrk="1" latinLnBrk="0" hangingPunct="1"/>
                      <a:r>
                        <a:rPr lang="en-US" sz="1600" b="1" kern="1200" dirty="0">
                          <a:solidFill>
                            <a:schemeClr val="dk1"/>
                          </a:solidFill>
                          <a:latin typeface="+mn-lt"/>
                          <a:ea typeface="+mn-ea"/>
                          <a:cs typeface="+mn-cs"/>
                        </a:rPr>
                        <a:t>7</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latin typeface="+mn-lt"/>
                          <a:ea typeface="+mn-ea"/>
                          <a:cs typeface="+mn-cs"/>
                        </a:rPr>
                        <a:t>{{amount7}}</a:t>
                      </a:r>
                      <a:endParaRPr lang="en-US" sz="1600" kern="1200" dirty="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2727632733"/>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pPr marL="0" algn="l" defTabSz="914400" rtl="0" eaLnBrk="1" latinLnBrk="0" hangingPunct="1"/>
                      <a:r>
                        <a:rPr lang="en-US" sz="1600" b="1" kern="1200" dirty="0">
                          <a:solidFill>
                            <a:schemeClr val="bg1"/>
                          </a:solidFill>
                          <a:latin typeface="+mn-lt"/>
                          <a:ea typeface="+mn-ea"/>
                          <a:cs typeface="+mn-cs"/>
                        </a:rPr>
                        <a:t>{{total}}</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pPr marL="0" algn="l" defTabSz="914400" rtl="0" eaLnBrk="1" latinLnBrk="0" hangingPunct="1"/>
                      <a:r>
                        <a:rPr lang="en-US" sz="1600" b="1" kern="1200" dirty="0">
                          <a:solidFill>
                            <a:schemeClr val="bg1"/>
                          </a:solidFill>
                          <a:latin typeface="+mn-lt"/>
                          <a:ea typeface="+mn-ea"/>
                          <a:cs typeface="+mn-cs"/>
                        </a:rPr>
                        <a:t>{{</a:t>
                      </a:r>
                      <a:r>
                        <a:rPr lang="en-US" sz="1600" b="1" kern="1200" dirty="0" err="1">
                          <a:solidFill>
                            <a:schemeClr val="bg1"/>
                          </a:solidFill>
                          <a:latin typeface="+mn-lt"/>
                          <a:ea typeface="+mn-ea"/>
                          <a:cs typeface="+mn-cs"/>
                        </a:rPr>
                        <a:t>withoutVat</a:t>
                      </a:r>
                      <a:r>
                        <a:rPr lang="en-US" sz="1600" b="1" kern="1200" dirty="0">
                          <a:solidFill>
                            <a:schemeClr val="bg1"/>
                          </a:solidFill>
                          <a:latin typeface="+mn-lt"/>
                          <a:ea typeface="+mn-ea"/>
                          <a:cs typeface="+mn-cs"/>
                        </a:rPr>
                        <a:t>}}</a:t>
                      </a:r>
                    </a:p>
                  </a:txBody>
                  <a:tcPr marL="85725" marR="85725" marT="42863" marB="42863">
                    <a:noFill/>
                  </a:tcPr>
                </a:tc>
                <a:extLst>
                  <a:ext uri="{0D108BD9-81ED-4DB2-BD59-A6C34878D82A}">
                    <a16:rowId xmlns:a16="http://schemas.microsoft.com/office/drawing/2014/main" val="529514081"/>
                  </a:ext>
                </a:extLst>
              </a:tr>
            </a:tbl>
          </a:graphicData>
        </a:graphic>
      </p:graphicFrame>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778078"/>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3600" b="1" i="0" u="none" strike="noStrike" kern="1200" cap="none" spc="-47"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1343576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3600" b="1">
                <a:solidFill>
                  <a:schemeClr val="bg1"/>
                </a:solidFill>
                <a:cs typeface="Calibri" panose="020F0502020204030204" pitchFamily="34" charset="0"/>
              </a:rPr>
              <a:t>GLOBAL FOOTPRINT</a:t>
            </a:r>
            <a:endParaRPr lang="en-GB" sz="3600" b="1">
              <a:solidFill>
                <a:schemeClr val="bg1"/>
              </a:solidFill>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35954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1371886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4"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5b8817e-1f0a-4edf-8874-03502184a90c" xsi:nil="true"/>
    <lcf76f155ced4ddcb4097134ff3c332f xmlns="650ddbf8-cc79-4c59-9ec4-489c5069a3d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E8971471EFEB343B8C2ABD6F69D2DDC" ma:contentTypeVersion="18" ma:contentTypeDescription="Create a new document." ma:contentTypeScope="" ma:versionID="ccbfe6e7af9430d0fd55ca1207fb4353">
  <xsd:schema xmlns:xsd="http://www.w3.org/2001/XMLSchema" xmlns:xs="http://www.w3.org/2001/XMLSchema" xmlns:p="http://schemas.microsoft.com/office/2006/metadata/properties" xmlns:ns2="650ddbf8-cc79-4c59-9ec4-489c5069a3d1" xmlns:ns3="85b8817e-1f0a-4edf-8874-03502184a90c" targetNamespace="http://schemas.microsoft.com/office/2006/metadata/properties" ma:root="true" ma:fieldsID="7ef70b0e8f20abdefd86d5101e8a76bb" ns2:_="" ns3:_="">
    <xsd:import namespace="650ddbf8-cc79-4c59-9ec4-489c5069a3d1"/>
    <xsd:import namespace="85b8817e-1f0a-4edf-8874-03502184a90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ServiceLocation" minOccurs="0"/>
                <xsd:element ref="ns3:SharedWithUsers" minOccurs="0"/>
                <xsd:element ref="ns3:SharedWithDetails"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0ddbf8-cc79-4c59-9ec4-489c5069a3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4049bb27-0d27-4d36-aa7a-9078369f2769" ma:termSetId="09814cd3-568e-fe90-9814-8d621ff8fb84" ma:anchorId="fba54fb3-c3e1-fe81-a776-ca4b69148c4d" ma:open="true" ma:isKeyword="false">
      <xsd:complexType>
        <xsd:sequence>
          <xsd:element ref="pc:Terms" minOccurs="0" maxOccurs="1"/>
        </xsd:sequence>
      </xsd:complexType>
    </xsd:element>
    <xsd:element name="MediaServiceLocation" ma:index="20" nillable="true" ma:displayName="Location"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5b8817e-1f0a-4edf-8874-03502184a90c"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e861f58d-f472-492b-8a1b-c61b570f4766}" ma:internalName="TaxCatchAll" ma:showField="CatchAllData" ma:web="85b8817e-1f0a-4edf-8874-03502184a90c">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088D30E-B779-491C-B0EA-1D9CCFBFB795}">
  <ds:schemaRefs>
    <ds:schemaRef ds:uri="650ddbf8-cc79-4c59-9ec4-489c5069a3d1"/>
    <ds:schemaRef ds:uri="85b8817e-1f0a-4edf-8874-03502184a90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6130B3A-0DB7-44EB-8CE1-567EC3F64BC7}">
  <ds:schemaRefs>
    <ds:schemaRef ds:uri="650ddbf8-cc79-4c59-9ec4-489c5069a3d1"/>
    <ds:schemaRef ds:uri="85b8817e-1f0a-4edf-8874-03502184a90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TotalTime>
  <Words>4063</Words>
  <Application>Microsoft Office PowerPoint</Application>
  <PresentationFormat>Widescreen</PresentationFormat>
  <Paragraphs>513</Paragraphs>
  <Slides>54</Slides>
  <Notes>18</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54</vt:i4>
      </vt:variant>
    </vt:vector>
  </HeadingPairs>
  <TitlesOfParts>
    <vt:vector size="65" baseType="lpstr">
      <vt:lpstr>맑은 고딕</vt:lpstr>
      <vt:lpstr>Agency FB</vt:lpstr>
      <vt:lpstr>Arial</vt:lpstr>
      <vt:lpstr>Calibri</vt:lpstr>
      <vt:lpstr>Fira Sans SemiBold</vt:lpstr>
      <vt:lpstr>mreavesxl</vt:lpstr>
      <vt:lpstr>Open Sans</vt:lpstr>
      <vt:lpstr>Roboto</vt:lpstr>
      <vt:lpstr>Times</vt:lpstr>
      <vt:lpstr>Wingdings</vt:lpstr>
      <vt:lpstr>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73</cp:revision>
  <dcterms:created xsi:type="dcterms:W3CDTF">2022-09-12T10:39:45Z</dcterms:created>
  <dcterms:modified xsi:type="dcterms:W3CDTF">2025-02-18T05:3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8971471EFEB343B8C2ABD6F69D2DDC</vt:lpwstr>
  </property>
  <property fmtid="{D5CDD505-2E9C-101B-9397-08002B2CF9AE}" pid="3" name="MediaServiceImageTags">
    <vt:lpwstr/>
  </property>
  <property fmtid="{D5CDD505-2E9C-101B-9397-08002B2CF9AE}" pid="4" name="Order">
    <vt:lpwstr>11410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